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 id="2147483673" r:id="rId6"/>
    <p:sldMasterId id="2147483696" r:id="rId7"/>
  </p:sldMasterIdLst>
  <p:notesMasterIdLst>
    <p:notesMasterId r:id="rId42"/>
  </p:notesMasterIdLst>
  <p:handoutMasterIdLst>
    <p:handoutMasterId r:id="rId43"/>
  </p:handoutMasterIdLst>
  <p:sldIdLst>
    <p:sldId id="276" r:id="rId8"/>
    <p:sldId id="303" r:id="rId9"/>
    <p:sldId id="304" r:id="rId10"/>
    <p:sldId id="305" r:id="rId11"/>
    <p:sldId id="277" r:id="rId12"/>
    <p:sldId id="307" r:id="rId13"/>
    <p:sldId id="278" r:id="rId14"/>
    <p:sldId id="279" r:id="rId15"/>
    <p:sldId id="281" r:id="rId16"/>
    <p:sldId id="296" r:id="rId17"/>
    <p:sldId id="308" r:id="rId18"/>
    <p:sldId id="280" r:id="rId19"/>
    <p:sldId id="313" r:id="rId20"/>
    <p:sldId id="282" r:id="rId21"/>
    <p:sldId id="310" r:id="rId22"/>
    <p:sldId id="312" r:id="rId23"/>
    <p:sldId id="284" r:id="rId24"/>
    <p:sldId id="285" r:id="rId25"/>
    <p:sldId id="286" r:id="rId26"/>
    <p:sldId id="287" r:id="rId27"/>
    <p:sldId id="288" r:id="rId28"/>
    <p:sldId id="289" r:id="rId29"/>
    <p:sldId id="290" r:id="rId30"/>
    <p:sldId id="291" r:id="rId31"/>
    <p:sldId id="292" r:id="rId32"/>
    <p:sldId id="293" r:id="rId33"/>
    <p:sldId id="294" r:id="rId34"/>
    <p:sldId id="295" r:id="rId35"/>
    <p:sldId id="297" r:id="rId36"/>
    <p:sldId id="298" r:id="rId37"/>
    <p:sldId id="299" r:id="rId38"/>
    <p:sldId id="300" r:id="rId39"/>
    <p:sldId id="301" r:id="rId40"/>
    <p:sldId id="258"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12ABDB"/>
    <a:srgbClr val="0070AD"/>
    <a:srgbClr val="64A31E"/>
    <a:srgbClr val="6303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69D1C0-07DE-4911-AB31-666580241688}" v="24" dt="2023-06-14T04:02:13.4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72" autoAdjust="0"/>
    <p:restoredTop sz="93690" autoAdjust="0"/>
  </p:normalViewPr>
  <p:slideViewPr>
    <p:cSldViewPr snapToGrid="0">
      <p:cViewPr varScale="1">
        <p:scale>
          <a:sx n="62" d="100"/>
          <a:sy n="62" d="100"/>
        </p:scale>
        <p:origin x="216"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1890" y="-18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dhari, Rekha Prashant" userId="96ddbd71-f8cd-4c9c-a070-1de496c55735" providerId="ADAL" clId="{E669D1C0-07DE-4911-AB31-666580241688}"/>
    <pc:docChg chg="undo custSel addSld delSld modSld">
      <pc:chgData name="Chaudhari, Rekha Prashant" userId="96ddbd71-f8cd-4c9c-a070-1de496c55735" providerId="ADAL" clId="{E669D1C0-07DE-4911-AB31-666580241688}" dt="2023-06-14T06:58:27.038" v="139"/>
      <pc:docMkLst>
        <pc:docMk/>
      </pc:docMkLst>
      <pc:sldChg chg="modSp mod">
        <pc:chgData name="Chaudhari, Rekha Prashant" userId="96ddbd71-f8cd-4c9c-a070-1de496c55735" providerId="ADAL" clId="{E669D1C0-07DE-4911-AB31-666580241688}" dt="2023-06-14T03:44:39.172" v="68" actId="20577"/>
        <pc:sldMkLst>
          <pc:docMk/>
          <pc:sldMk cId="2062500710" sldId="282"/>
        </pc:sldMkLst>
        <pc:spChg chg="mod">
          <ac:chgData name="Chaudhari, Rekha Prashant" userId="96ddbd71-f8cd-4c9c-a070-1de496c55735" providerId="ADAL" clId="{E669D1C0-07DE-4911-AB31-666580241688}" dt="2023-06-14T03:44:39.172" v="68" actId="20577"/>
          <ac:spMkLst>
            <pc:docMk/>
            <pc:sldMk cId="2062500710" sldId="282"/>
            <ac:spMk id="5" creationId="{D472B14B-8BDC-469C-B41B-B9957CAA843D}"/>
          </ac:spMkLst>
        </pc:spChg>
      </pc:sldChg>
      <pc:sldChg chg="addSp delSp mod">
        <pc:chgData name="Chaudhari, Rekha Prashant" userId="96ddbd71-f8cd-4c9c-a070-1de496c55735" providerId="ADAL" clId="{E669D1C0-07DE-4911-AB31-666580241688}" dt="2023-06-14T03:39:19.523" v="48" actId="22"/>
        <pc:sldMkLst>
          <pc:docMk/>
          <pc:sldMk cId="2322943294" sldId="296"/>
        </pc:sldMkLst>
        <pc:spChg chg="add del">
          <ac:chgData name="Chaudhari, Rekha Prashant" userId="96ddbd71-f8cd-4c9c-a070-1de496c55735" providerId="ADAL" clId="{E669D1C0-07DE-4911-AB31-666580241688}" dt="2023-06-14T03:39:19.523" v="48" actId="22"/>
          <ac:spMkLst>
            <pc:docMk/>
            <pc:sldMk cId="2322943294" sldId="296"/>
            <ac:spMk id="5" creationId="{0826A9FE-1BAE-7E45-E2FC-BF5D7E2BA15B}"/>
          </ac:spMkLst>
        </pc:spChg>
      </pc:sldChg>
      <pc:sldChg chg="addSp delSp modSp new del mod modClrScheme chgLayout">
        <pc:chgData name="Chaudhari, Rekha Prashant" userId="96ddbd71-f8cd-4c9c-a070-1de496c55735" providerId="ADAL" clId="{E669D1C0-07DE-4911-AB31-666580241688}" dt="2023-06-13T14:39:26.947" v="12" actId="2696"/>
        <pc:sldMkLst>
          <pc:docMk/>
          <pc:sldMk cId="3015836800" sldId="304"/>
        </pc:sldMkLst>
        <pc:spChg chg="del">
          <ac:chgData name="Chaudhari, Rekha Prashant" userId="96ddbd71-f8cd-4c9c-a070-1de496c55735" providerId="ADAL" clId="{E669D1C0-07DE-4911-AB31-666580241688}" dt="2023-06-13T14:37:54.933" v="7" actId="26606"/>
          <ac:spMkLst>
            <pc:docMk/>
            <pc:sldMk cId="3015836800" sldId="304"/>
            <ac:spMk id="2" creationId="{E037FF7E-F201-76E8-33DB-C5D9C9AD6C01}"/>
          </ac:spMkLst>
        </pc:spChg>
        <pc:spChg chg="del mod">
          <ac:chgData name="Chaudhari, Rekha Prashant" userId="96ddbd71-f8cd-4c9c-a070-1de496c55735" providerId="ADAL" clId="{E669D1C0-07DE-4911-AB31-666580241688}" dt="2023-06-13T14:37:54.933" v="7" actId="26606"/>
          <ac:spMkLst>
            <pc:docMk/>
            <pc:sldMk cId="3015836800" sldId="304"/>
            <ac:spMk id="3" creationId="{840347CA-2FA8-8537-75D5-9BEE2C944799}"/>
          </ac:spMkLst>
        </pc:spChg>
        <pc:spChg chg="add mod ord">
          <ac:chgData name="Chaudhari, Rekha Prashant" userId="96ddbd71-f8cd-4c9c-a070-1de496c55735" providerId="ADAL" clId="{E669D1C0-07DE-4911-AB31-666580241688}" dt="2023-06-13T14:39:22.409" v="11" actId="14100"/>
          <ac:spMkLst>
            <pc:docMk/>
            <pc:sldMk cId="3015836800" sldId="304"/>
            <ac:spMk id="4" creationId="{8D4DF2C5-6AAB-A275-9D8F-0B49EA341A53}"/>
          </ac:spMkLst>
        </pc:spChg>
        <pc:picChg chg="add del mod">
          <ac:chgData name="Chaudhari, Rekha Prashant" userId="96ddbd71-f8cd-4c9c-a070-1de496c55735" providerId="ADAL" clId="{E669D1C0-07DE-4911-AB31-666580241688}" dt="2023-06-13T14:37:54.933" v="7" actId="26606"/>
          <ac:picMkLst>
            <pc:docMk/>
            <pc:sldMk cId="3015836800" sldId="304"/>
            <ac:picMk id="1026" creationId="{D637A6F7-2C0B-5F3F-E015-8FEB15A88110}"/>
          </ac:picMkLst>
        </pc:picChg>
      </pc:sldChg>
      <pc:sldChg chg="addSp modSp new mod">
        <pc:chgData name="Chaudhari, Rekha Prashant" userId="96ddbd71-f8cd-4c9c-a070-1de496c55735" providerId="ADAL" clId="{E669D1C0-07DE-4911-AB31-666580241688}" dt="2023-06-13T15:02:45.951" v="25" actId="14100"/>
        <pc:sldMkLst>
          <pc:docMk/>
          <pc:sldMk cId="4111995203" sldId="304"/>
        </pc:sldMkLst>
        <pc:spChg chg="mod">
          <ac:chgData name="Chaudhari, Rekha Prashant" userId="96ddbd71-f8cd-4c9c-a070-1de496c55735" providerId="ADAL" clId="{E669D1C0-07DE-4911-AB31-666580241688}" dt="2023-06-13T15:01:57.239" v="21" actId="20577"/>
          <ac:spMkLst>
            <pc:docMk/>
            <pc:sldMk cId="4111995203" sldId="304"/>
            <ac:spMk id="2" creationId="{90E55AC2-1A16-D0FD-A49F-E478EA9A04BB}"/>
          </ac:spMkLst>
        </pc:spChg>
        <pc:spChg chg="mod">
          <ac:chgData name="Chaudhari, Rekha Prashant" userId="96ddbd71-f8cd-4c9c-a070-1de496c55735" providerId="ADAL" clId="{E669D1C0-07DE-4911-AB31-666580241688}" dt="2023-06-13T14:39:57.113" v="15" actId="27636"/>
          <ac:spMkLst>
            <pc:docMk/>
            <pc:sldMk cId="4111995203" sldId="304"/>
            <ac:spMk id="3" creationId="{990037F9-4A32-E8B1-0830-F36EC7790C34}"/>
          </ac:spMkLst>
        </pc:spChg>
        <pc:picChg chg="add mod">
          <ac:chgData name="Chaudhari, Rekha Prashant" userId="96ddbd71-f8cd-4c9c-a070-1de496c55735" providerId="ADAL" clId="{E669D1C0-07DE-4911-AB31-666580241688}" dt="2023-06-13T15:02:45.951" v="25" actId="14100"/>
          <ac:picMkLst>
            <pc:docMk/>
            <pc:sldMk cId="4111995203" sldId="304"/>
            <ac:picMk id="4" creationId="{DF5D77AC-6EEC-8F11-D38D-8781BC5969E2}"/>
          </ac:picMkLst>
        </pc:picChg>
      </pc:sldChg>
      <pc:sldChg chg="modSp new mod">
        <pc:chgData name="Chaudhari, Rekha Prashant" userId="96ddbd71-f8cd-4c9c-a070-1de496c55735" providerId="ADAL" clId="{E669D1C0-07DE-4911-AB31-666580241688}" dt="2023-06-13T15:07:23.076" v="26"/>
        <pc:sldMkLst>
          <pc:docMk/>
          <pc:sldMk cId="4186837676" sldId="305"/>
        </pc:sldMkLst>
        <pc:spChg chg="mod">
          <ac:chgData name="Chaudhari, Rekha Prashant" userId="96ddbd71-f8cd-4c9c-a070-1de496c55735" providerId="ADAL" clId="{E669D1C0-07DE-4911-AB31-666580241688}" dt="2023-06-13T15:07:23.076" v="26"/>
          <ac:spMkLst>
            <pc:docMk/>
            <pc:sldMk cId="4186837676" sldId="305"/>
            <ac:spMk id="2" creationId="{58D9BE81-0291-64C3-64EA-BD18C22CFFE8}"/>
          </ac:spMkLst>
        </pc:spChg>
        <pc:spChg chg="mod">
          <ac:chgData name="Chaudhari, Rekha Prashant" userId="96ddbd71-f8cd-4c9c-a070-1de496c55735" providerId="ADAL" clId="{E669D1C0-07DE-4911-AB31-666580241688}" dt="2023-06-13T15:01:48.573" v="19" actId="27636"/>
          <ac:spMkLst>
            <pc:docMk/>
            <pc:sldMk cId="4186837676" sldId="305"/>
            <ac:spMk id="3" creationId="{084D2E85-CE80-D3E5-96AB-86DC0A29900D}"/>
          </ac:spMkLst>
        </pc:spChg>
      </pc:sldChg>
      <pc:sldChg chg="new del">
        <pc:chgData name="Chaudhari, Rekha Prashant" userId="96ddbd71-f8cd-4c9c-a070-1de496c55735" providerId="ADAL" clId="{E669D1C0-07DE-4911-AB31-666580241688}" dt="2023-06-14T03:37:41.181" v="46" actId="47"/>
        <pc:sldMkLst>
          <pc:docMk/>
          <pc:sldMk cId="2590199040" sldId="306"/>
        </pc:sldMkLst>
      </pc:sldChg>
      <pc:sldChg chg="addSp delSp modSp add mod">
        <pc:chgData name="Chaudhari, Rekha Prashant" userId="96ddbd71-f8cd-4c9c-a070-1de496c55735" providerId="ADAL" clId="{E669D1C0-07DE-4911-AB31-666580241688}" dt="2023-06-14T03:37:26.590" v="45" actId="20577"/>
        <pc:sldMkLst>
          <pc:docMk/>
          <pc:sldMk cId="2324060003" sldId="307"/>
        </pc:sldMkLst>
        <pc:spChg chg="mod">
          <ac:chgData name="Chaudhari, Rekha Prashant" userId="96ddbd71-f8cd-4c9c-a070-1de496c55735" providerId="ADAL" clId="{E669D1C0-07DE-4911-AB31-666580241688}" dt="2023-06-14T03:36:46.582" v="38" actId="20577"/>
          <ac:spMkLst>
            <pc:docMk/>
            <pc:sldMk cId="2324060003" sldId="307"/>
            <ac:spMk id="2" creationId="{90E55AC2-1A16-D0FD-A49F-E478EA9A04BB}"/>
          </ac:spMkLst>
        </pc:spChg>
        <pc:spChg chg="mod">
          <ac:chgData name="Chaudhari, Rekha Prashant" userId="96ddbd71-f8cd-4c9c-a070-1de496c55735" providerId="ADAL" clId="{E669D1C0-07DE-4911-AB31-666580241688}" dt="2023-06-14T03:37:26.590" v="45" actId="20577"/>
          <ac:spMkLst>
            <pc:docMk/>
            <pc:sldMk cId="2324060003" sldId="307"/>
            <ac:spMk id="3" creationId="{990037F9-4A32-E8B1-0830-F36EC7790C34}"/>
          </ac:spMkLst>
        </pc:spChg>
        <pc:picChg chg="del mod">
          <ac:chgData name="Chaudhari, Rekha Prashant" userId="96ddbd71-f8cd-4c9c-a070-1de496c55735" providerId="ADAL" clId="{E669D1C0-07DE-4911-AB31-666580241688}" dt="2023-06-14T03:36:42.398" v="36" actId="478"/>
          <ac:picMkLst>
            <pc:docMk/>
            <pc:sldMk cId="2324060003" sldId="307"/>
            <ac:picMk id="4" creationId="{DF5D77AC-6EEC-8F11-D38D-8781BC5969E2}"/>
          </ac:picMkLst>
        </pc:picChg>
        <pc:picChg chg="add mod">
          <ac:chgData name="Chaudhari, Rekha Prashant" userId="96ddbd71-f8cd-4c9c-a070-1de496c55735" providerId="ADAL" clId="{E669D1C0-07DE-4911-AB31-666580241688}" dt="2023-06-14T03:37:08.824" v="43" actId="14100"/>
          <ac:picMkLst>
            <pc:docMk/>
            <pc:sldMk cId="2324060003" sldId="307"/>
            <ac:picMk id="5" creationId="{0BF90FC5-F046-E023-4682-837F17C87829}"/>
          </ac:picMkLst>
        </pc:picChg>
      </pc:sldChg>
      <pc:sldChg chg="addSp delSp modSp add mod">
        <pc:chgData name="Chaudhari, Rekha Prashant" userId="96ddbd71-f8cd-4c9c-a070-1de496c55735" providerId="ADAL" clId="{E669D1C0-07DE-4911-AB31-666580241688}" dt="2023-06-14T03:42:55.561" v="63"/>
        <pc:sldMkLst>
          <pc:docMk/>
          <pc:sldMk cId="105786276" sldId="308"/>
        </pc:sldMkLst>
        <pc:spChg chg="mod">
          <ac:chgData name="Chaudhari, Rekha Prashant" userId="96ddbd71-f8cd-4c9c-a070-1de496c55735" providerId="ADAL" clId="{E669D1C0-07DE-4911-AB31-666580241688}" dt="2023-06-14T03:42:55.561" v="63"/>
          <ac:spMkLst>
            <pc:docMk/>
            <pc:sldMk cId="105786276" sldId="308"/>
            <ac:spMk id="4" creationId="{2B2811B8-8606-4B73-8B16-336117B262C1}"/>
          </ac:spMkLst>
        </pc:spChg>
        <pc:spChg chg="add del mod">
          <ac:chgData name="Chaudhari, Rekha Prashant" userId="96ddbd71-f8cd-4c9c-a070-1de496c55735" providerId="ADAL" clId="{E669D1C0-07DE-4911-AB31-666580241688}" dt="2023-06-14T03:42:43.511" v="60" actId="21"/>
          <ac:spMkLst>
            <pc:docMk/>
            <pc:sldMk cId="105786276" sldId="308"/>
            <ac:spMk id="5" creationId="{DE21B9F9-9725-409F-8A2A-AD1D32E00B20}"/>
          </ac:spMkLst>
        </pc:spChg>
        <pc:picChg chg="del">
          <ac:chgData name="Chaudhari, Rekha Prashant" userId="96ddbd71-f8cd-4c9c-a070-1de496c55735" providerId="ADAL" clId="{E669D1C0-07DE-4911-AB31-666580241688}" dt="2023-06-14T03:40:26.081" v="52" actId="478"/>
          <ac:picMkLst>
            <pc:docMk/>
            <pc:sldMk cId="105786276" sldId="308"/>
            <ac:picMk id="1030" creationId="{CB51DACE-F121-45F2-8727-5E88B46DF2CE}"/>
          </ac:picMkLst>
        </pc:picChg>
      </pc:sldChg>
      <pc:sldChg chg="new del">
        <pc:chgData name="Chaudhari, Rekha Prashant" userId="96ddbd71-f8cd-4c9c-a070-1de496c55735" providerId="ADAL" clId="{E669D1C0-07DE-4911-AB31-666580241688}" dt="2023-06-14T03:40:09.192" v="50" actId="47"/>
        <pc:sldMkLst>
          <pc:docMk/>
          <pc:sldMk cId="899920491" sldId="308"/>
        </pc:sldMkLst>
      </pc:sldChg>
      <pc:sldChg chg="new del">
        <pc:chgData name="Chaudhari, Rekha Prashant" userId="96ddbd71-f8cd-4c9c-a070-1de496c55735" providerId="ADAL" clId="{E669D1C0-07DE-4911-AB31-666580241688}" dt="2023-06-14T03:45:57.307" v="76" actId="47"/>
        <pc:sldMkLst>
          <pc:docMk/>
          <pc:sldMk cId="2330044" sldId="309"/>
        </pc:sldMkLst>
      </pc:sldChg>
      <pc:sldChg chg="modSp add mod">
        <pc:chgData name="Chaudhari, Rekha Prashant" userId="96ddbd71-f8cd-4c9c-a070-1de496c55735" providerId="ADAL" clId="{E669D1C0-07DE-4911-AB31-666580241688}" dt="2023-06-14T03:45:35.627" v="74" actId="5793"/>
        <pc:sldMkLst>
          <pc:docMk/>
          <pc:sldMk cId="4189360687" sldId="310"/>
        </pc:sldMkLst>
        <pc:spChg chg="mod">
          <ac:chgData name="Chaudhari, Rekha Prashant" userId="96ddbd71-f8cd-4c9c-a070-1de496c55735" providerId="ADAL" clId="{E669D1C0-07DE-4911-AB31-666580241688}" dt="2023-06-14T03:45:35.627" v="74" actId="5793"/>
          <ac:spMkLst>
            <pc:docMk/>
            <pc:sldMk cId="4189360687" sldId="310"/>
            <ac:spMk id="5" creationId="{D472B14B-8BDC-469C-B41B-B9957CAA843D}"/>
          </ac:spMkLst>
        </pc:spChg>
      </pc:sldChg>
      <pc:sldChg chg="add del">
        <pc:chgData name="Chaudhari, Rekha Prashant" userId="96ddbd71-f8cd-4c9c-a070-1de496c55735" providerId="ADAL" clId="{E669D1C0-07DE-4911-AB31-666580241688}" dt="2023-06-14T03:46:56.689" v="79" actId="47"/>
        <pc:sldMkLst>
          <pc:docMk/>
          <pc:sldMk cId="1148337450" sldId="311"/>
        </pc:sldMkLst>
      </pc:sldChg>
      <pc:sldChg chg="add del">
        <pc:chgData name="Chaudhari, Rekha Prashant" userId="96ddbd71-f8cd-4c9c-a070-1de496c55735" providerId="ADAL" clId="{E669D1C0-07DE-4911-AB31-666580241688}" dt="2023-06-14T03:45:54.659" v="75" actId="47"/>
        <pc:sldMkLst>
          <pc:docMk/>
          <pc:sldMk cId="4129851832" sldId="311"/>
        </pc:sldMkLst>
      </pc:sldChg>
      <pc:sldChg chg="modSp add mod">
        <pc:chgData name="Chaudhari, Rekha Prashant" userId="96ddbd71-f8cd-4c9c-a070-1de496c55735" providerId="ADAL" clId="{E669D1C0-07DE-4911-AB31-666580241688}" dt="2023-06-14T03:49:33.823" v="102" actId="207"/>
        <pc:sldMkLst>
          <pc:docMk/>
          <pc:sldMk cId="1885383508" sldId="312"/>
        </pc:sldMkLst>
        <pc:spChg chg="mod">
          <ac:chgData name="Chaudhari, Rekha Prashant" userId="96ddbd71-f8cd-4c9c-a070-1de496c55735" providerId="ADAL" clId="{E669D1C0-07DE-4911-AB31-666580241688}" dt="2023-06-14T03:47:57.537" v="96" actId="20577"/>
          <ac:spMkLst>
            <pc:docMk/>
            <pc:sldMk cId="1885383508" sldId="312"/>
            <ac:spMk id="4" creationId="{2B2811B8-8606-4B73-8B16-336117B262C1}"/>
          </ac:spMkLst>
        </pc:spChg>
        <pc:spChg chg="mod">
          <ac:chgData name="Chaudhari, Rekha Prashant" userId="96ddbd71-f8cd-4c9c-a070-1de496c55735" providerId="ADAL" clId="{E669D1C0-07DE-4911-AB31-666580241688}" dt="2023-06-14T03:49:33.823" v="102" actId="207"/>
          <ac:spMkLst>
            <pc:docMk/>
            <pc:sldMk cId="1885383508" sldId="312"/>
            <ac:spMk id="5" creationId="{D472B14B-8BDC-469C-B41B-B9957CAA843D}"/>
          </ac:spMkLst>
        </pc:spChg>
      </pc:sldChg>
      <pc:sldChg chg="delSp modSp add mod">
        <pc:chgData name="Chaudhari, Rekha Prashant" userId="96ddbd71-f8cd-4c9c-a070-1de496c55735" providerId="ADAL" clId="{E669D1C0-07DE-4911-AB31-666580241688}" dt="2023-06-14T06:58:27.038" v="139"/>
        <pc:sldMkLst>
          <pc:docMk/>
          <pc:sldMk cId="312061710" sldId="313"/>
        </pc:sldMkLst>
        <pc:spChg chg="del mod">
          <ac:chgData name="Chaudhari, Rekha Prashant" userId="96ddbd71-f8cd-4c9c-a070-1de496c55735" providerId="ADAL" clId="{E669D1C0-07DE-4911-AB31-666580241688}" dt="2023-06-14T06:58:27.038" v="139"/>
          <ac:spMkLst>
            <pc:docMk/>
            <pc:sldMk cId="312061710" sldId="313"/>
            <ac:spMk id="4" creationId="{2B2811B8-8606-4B73-8B16-336117B262C1}"/>
          </ac:spMkLst>
        </pc:spChg>
        <pc:spChg chg="mod">
          <ac:chgData name="Chaudhari, Rekha Prashant" userId="96ddbd71-f8cd-4c9c-a070-1de496c55735" providerId="ADAL" clId="{E669D1C0-07DE-4911-AB31-666580241688}" dt="2023-06-14T06:46:02.461" v="135"/>
          <ac:spMkLst>
            <pc:docMk/>
            <pc:sldMk cId="312061710" sldId="313"/>
            <ac:spMk id="5" creationId="{DE21B9F9-9725-409F-8A2A-AD1D32E00B20}"/>
          </ac:spMkLst>
        </pc:spChg>
      </pc:sldChg>
      <pc:sldChg chg="add del">
        <pc:chgData name="Chaudhari, Rekha Prashant" userId="96ddbd71-f8cd-4c9c-a070-1de496c55735" providerId="ADAL" clId="{E669D1C0-07DE-4911-AB31-666580241688}" dt="2023-06-14T04:02:02.959" v="104" actId="47"/>
        <pc:sldMkLst>
          <pc:docMk/>
          <pc:sldMk cId="857947402" sldId="31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27FEAD-38F1-4934-91D2-C6C87E5416D5}" type="doc">
      <dgm:prSet loTypeId="urn:microsoft.com/office/officeart/2005/8/layout/chevron2" loCatId="list" qsTypeId="urn:microsoft.com/office/officeart/2005/8/quickstyle/simple1" qsCatId="simple" csTypeId="urn:microsoft.com/office/officeart/2005/8/colors/colorful1" csCatId="colorful" phldr="1"/>
      <dgm:spPr/>
      <dgm:t>
        <a:bodyPr/>
        <a:lstStyle/>
        <a:p>
          <a:endParaRPr lang="en-US"/>
        </a:p>
      </dgm:t>
    </dgm:pt>
    <dgm:pt modelId="{C17CE446-B002-484A-B369-A0EEF2EDB7E8}">
      <dgm:prSet phldrT="[Text]"/>
      <dgm:spPr/>
      <dgm:t>
        <a:bodyPr/>
        <a:lstStyle/>
        <a:p>
          <a:r>
            <a:rPr lang="en-US" dirty="0"/>
            <a:t>Cloud Applications</a:t>
          </a:r>
        </a:p>
      </dgm:t>
    </dgm:pt>
    <dgm:pt modelId="{8583E3C3-038A-4387-AD5B-B12CB8C4FF9C}" type="parTrans" cxnId="{4FAB3427-5AED-4BD7-AA68-440153D542BD}">
      <dgm:prSet/>
      <dgm:spPr/>
      <dgm:t>
        <a:bodyPr/>
        <a:lstStyle/>
        <a:p>
          <a:endParaRPr lang="en-US"/>
        </a:p>
      </dgm:t>
    </dgm:pt>
    <dgm:pt modelId="{85481D11-F594-41CF-89F1-576F30E39042}" type="sibTrans" cxnId="{4FAB3427-5AED-4BD7-AA68-440153D542BD}">
      <dgm:prSet/>
      <dgm:spPr/>
      <dgm:t>
        <a:bodyPr/>
        <a:lstStyle/>
        <a:p>
          <a:endParaRPr lang="en-US"/>
        </a:p>
      </dgm:t>
    </dgm:pt>
    <dgm:pt modelId="{2220E54F-1299-4752-B55D-1EFBA0F5F8E2}">
      <dgm:prSet phldrT="[Text]" custT="1"/>
      <dgm:spPr/>
      <dgm:t>
        <a:bodyPr/>
        <a:lstStyle/>
        <a:p>
          <a:pPr marL="171450" lvl="1" indent="-171450" algn="just" defTabSz="800100">
            <a:lnSpc>
              <a:spcPct val="150000"/>
            </a:lnSpc>
            <a:spcBef>
              <a:spcPct val="0"/>
            </a:spcBef>
            <a:spcAft>
              <a:spcPct val="20000"/>
            </a:spcAft>
            <a:buNone/>
          </a:pPr>
          <a:r>
            <a:rPr lang="en-US" sz="2300" kern="1200" dirty="0">
              <a:solidFill>
                <a:srgbClr val="000000">
                  <a:hueOff val="0"/>
                  <a:satOff val="0"/>
                  <a:lumOff val="0"/>
                  <a:alphaOff val="0"/>
                </a:srgbClr>
              </a:solidFill>
              <a:latin typeface="Verdana"/>
              <a:ea typeface="+mn-ea"/>
              <a:cs typeface="+mn-cs"/>
            </a:rPr>
            <a:t>Running</a:t>
          </a:r>
          <a:r>
            <a:rPr lang="en-US" sz="2300" kern="1200" dirty="0">
              <a:latin typeface="Verdana"/>
              <a:ea typeface="+mn-ea"/>
              <a:cs typeface="+mn-cs"/>
            </a:rPr>
            <a:t> applications in data centers owned by third parties and accessed via the internet</a:t>
          </a:r>
        </a:p>
      </dgm:t>
    </dgm:pt>
    <dgm:pt modelId="{7B2B6B60-84EC-47A1-8567-EB8882B083C1}" type="parTrans" cxnId="{59D36C0B-ED32-4B67-9A1A-3ADC9D82033B}">
      <dgm:prSet/>
      <dgm:spPr/>
      <dgm:t>
        <a:bodyPr/>
        <a:lstStyle/>
        <a:p>
          <a:endParaRPr lang="en-US"/>
        </a:p>
      </dgm:t>
    </dgm:pt>
    <dgm:pt modelId="{87A6D0D8-19E0-461C-9FA1-8F4D1632DFDE}" type="sibTrans" cxnId="{59D36C0B-ED32-4B67-9A1A-3ADC9D82033B}">
      <dgm:prSet/>
      <dgm:spPr/>
      <dgm:t>
        <a:bodyPr/>
        <a:lstStyle/>
        <a:p>
          <a:endParaRPr lang="en-US"/>
        </a:p>
      </dgm:t>
    </dgm:pt>
    <dgm:pt modelId="{9A999260-35C8-48FF-870A-1F924D86978F}">
      <dgm:prSet phldrT="[Text]"/>
      <dgm:spPr/>
      <dgm:t>
        <a:bodyPr/>
        <a:lstStyle/>
        <a:p>
          <a:r>
            <a:rPr lang="en-US" dirty="0"/>
            <a:t>Cloud Platforms</a:t>
          </a:r>
        </a:p>
      </dgm:t>
    </dgm:pt>
    <dgm:pt modelId="{528B3351-527B-48F6-BAD6-1DFE8C6A55CD}" type="parTrans" cxnId="{C7B989E7-366B-48B7-BEB4-EA26A31F8563}">
      <dgm:prSet/>
      <dgm:spPr/>
      <dgm:t>
        <a:bodyPr/>
        <a:lstStyle/>
        <a:p>
          <a:endParaRPr lang="en-US"/>
        </a:p>
      </dgm:t>
    </dgm:pt>
    <dgm:pt modelId="{C5CD11D1-CAEF-43AE-A2CC-51464B6149D2}" type="sibTrans" cxnId="{C7B989E7-366B-48B7-BEB4-EA26A31F8563}">
      <dgm:prSet/>
      <dgm:spPr/>
      <dgm:t>
        <a:bodyPr/>
        <a:lstStyle/>
        <a:p>
          <a:endParaRPr lang="en-US"/>
        </a:p>
      </dgm:t>
    </dgm:pt>
    <dgm:pt modelId="{5778CF29-3603-4EB0-859A-7FC1FD679FCB}">
      <dgm:prSet phldrT="[Text]"/>
      <dgm:spPr/>
      <dgm:t>
        <a:bodyPr/>
        <a:lstStyle/>
        <a:p>
          <a:pPr algn="just">
            <a:lnSpc>
              <a:spcPct val="150000"/>
            </a:lnSpc>
            <a:buFontTx/>
            <a:buNone/>
          </a:pPr>
          <a:r>
            <a:rPr lang="en-US" dirty="0"/>
            <a:t>Computing resources at data centers across the internet.</a:t>
          </a:r>
        </a:p>
      </dgm:t>
    </dgm:pt>
    <dgm:pt modelId="{6CB93CDD-2941-4DD6-A5D0-0293A22DDF59}" type="parTrans" cxnId="{8B852233-A37D-4E25-9794-F1BECDD63E72}">
      <dgm:prSet/>
      <dgm:spPr/>
      <dgm:t>
        <a:bodyPr/>
        <a:lstStyle/>
        <a:p>
          <a:endParaRPr lang="en-US"/>
        </a:p>
      </dgm:t>
    </dgm:pt>
    <dgm:pt modelId="{71E0EF4E-283F-42B8-9704-9369E63FFD87}" type="sibTrans" cxnId="{8B852233-A37D-4E25-9794-F1BECDD63E72}">
      <dgm:prSet/>
      <dgm:spPr/>
      <dgm:t>
        <a:bodyPr/>
        <a:lstStyle/>
        <a:p>
          <a:endParaRPr lang="en-US"/>
        </a:p>
      </dgm:t>
    </dgm:pt>
    <dgm:pt modelId="{13810803-EAD3-40B8-8AC8-EC36D14FD0DE}">
      <dgm:prSet phldrT="[Text]"/>
      <dgm:spPr/>
      <dgm:t>
        <a:bodyPr/>
        <a:lstStyle/>
        <a:p>
          <a:r>
            <a:rPr lang="en-US" dirty="0"/>
            <a:t>Private Clouds</a:t>
          </a:r>
        </a:p>
      </dgm:t>
    </dgm:pt>
    <dgm:pt modelId="{3178A803-465E-4954-8BD2-9B1202AB52B6}" type="parTrans" cxnId="{9D9A6C8F-075C-4692-98B3-875A4D0FE5C3}">
      <dgm:prSet/>
      <dgm:spPr/>
      <dgm:t>
        <a:bodyPr/>
        <a:lstStyle/>
        <a:p>
          <a:endParaRPr lang="en-US"/>
        </a:p>
      </dgm:t>
    </dgm:pt>
    <dgm:pt modelId="{3BB875EB-A573-4861-BB2F-B490EE5F2DE9}" type="sibTrans" cxnId="{9D9A6C8F-075C-4692-98B3-875A4D0FE5C3}">
      <dgm:prSet/>
      <dgm:spPr/>
      <dgm:t>
        <a:bodyPr/>
        <a:lstStyle/>
        <a:p>
          <a:endParaRPr lang="en-US"/>
        </a:p>
      </dgm:t>
    </dgm:pt>
    <dgm:pt modelId="{24859BCB-6A03-4CE5-87F8-1A59922425DF}">
      <dgm:prSet phldrT="[Text]"/>
      <dgm:spPr/>
      <dgm:t>
        <a:bodyPr/>
        <a:lstStyle/>
        <a:p>
          <a:pPr>
            <a:lnSpc>
              <a:spcPct val="150000"/>
            </a:lnSpc>
            <a:buFontTx/>
            <a:buNone/>
          </a:pPr>
          <a:r>
            <a:rPr lang="en-US" dirty="0"/>
            <a:t>Cloud platforms used by a single organization inside their own on-premise data center</a:t>
          </a:r>
        </a:p>
      </dgm:t>
    </dgm:pt>
    <dgm:pt modelId="{84A1CDC5-B199-45B7-AB8B-E127AB89DAFC}" type="parTrans" cxnId="{B4D2F453-599D-4BD4-85EC-A731C3C9A08A}">
      <dgm:prSet/>
      <dgm:spPr/>
      <dgm:t>
        <a:bodyPr/>
        <a:lstStyle/>
        <a:p>
          <a:endParaRPr lang="en-US"/>
        </a:p>
      </dgm:t>
    </dgm:pt>
    <dgm:pt modelId="{1AE55C4D-ABE8-4966-A213-3242112A5C38}" type="sibTrans" cxnId="{B4D2F453-599D-4BD4-85EC-A731C3C9A08A}">
      <dgm:prSet/>
      <dgm:spPr/>
      <dgm:t>
        <a:bodyPr/>
        <a:lstStyle/>
        <a:p>
          <a:endParaRPr lang="en-US"/>
        </a:p>
      </dgm:t>
    </dgm:pt>
    <dgm:pt modelId="{A1000BC5-3914-4598-A7A8-11E7CEE2E0C1}" type="pres">
      <dgm:prSet presAssocID="{1B27FEAD-38F1-4934-91D2-C6C87E5416D5}" presName="linearFlow" presStyleCnt="0">
        <dgm:presLayoutVars>
          <dgm:dir/>
          <dgm:animLvl val="lvl"/>
          <dgm:resizeHandles val="exact"/>
        </dgm:presLayoutVars>
      </dgm:prSet>
      <dgm:spPr/>
    </dgm:pt>
    <dgm:pt modelId="{56B018F1-A3FC-4FE7-9390-C171266CCC3F}" type="pres">
      <dgm:prSet presAssocID="{C17CE446-B002-484A-B369-A0EEF2EDB7E8}" presName="composite" presStyleCnt="0"/>
      <dgm:spPr/>
    </dgm:pt>
    <dgm:pt modelId="{492278BC-658A-4536-84E1-0024C1C5D68A}" type="pres">
      <dgm:prSet presAssocID="{C17CE446-B002-484A-B369-A0EEF2EDB7E8}" presName="parentText" presStyleLbl="alignNode1" presStyleIdx="0" presStyleCnt="3">
        <dgm:presLayoutVars>
          <dgm:chMax val="1"/>
          <dgm:bulletEnabled val="1"/>
        </dgm:presLayoutVars>
      </dgm:prSet>
      <dgm:spPr/>
    </dgm:pt>
    <dgm:pt modelId="{ABB8E84C-D255-44A9-AB98-7A5682D0C3B3}" type="pres">
      <dgm:prSet presAssocID="{C17CE446-B002-484A-B369-A0EEF2EDB7E8}" presName="descendantText" presStyleLbl="alignAcc1" presStyleIdx="0" presStyleCnt="3">
        <dgm:presLayoutVars>
          <dgm:bulletEnabled val="1"/>
        </dgm:presLayoutVars>
      </dgm:prSet>
      <dgm:spPr/>
    </dgm:pt>
    <dgm:pt modelId="{FA35B06D-0663-4F13-9358-8035EDCDC037}" type="pres">
      <dgm:prSet presAssocID="{85481D11-F594-41CF-89F1-576F30E39042}" presName="sp" presStyleCnt="0"/>
      <dgm:spPr/>
    </dgm:pt>
    <dgm:pt modelId="{AAFF419F-5AB8-4CE6-86A2-1D4DEAF2131D}" type="pres">
      <dgm:prSet presAssocID="{9A999260-35C8-48FF-870A-1F924D86978F}" presName="composite" presStyleCnt="0"/>
      <dgm:spPr/>
    </dgm:pt>
    <dgm:pt modelId="{5F7980EE-6ED2-454C-A9A5-BF60EDC18F11}" type="pres">
      <dgm:prSet presAssocID="{9A999260-35C8-48FF-870A-1F924D86978F}" presName="parentText" presStyleLbl="alignNode1" presStyleIdx="1" presStyleCnt="3">
        <dgm:presLayoutVars>
          <dgm:chMax val="1"/>
          <dgm:bulletEnabled val="1"/>
        </dgm:presLayoutVars>
      </dgm:prSet>
      <dgm:spPr/>
    </dgm:pt>
    <dgm:pt modelId="{2394C5A8-9809-4B0B-ACAA-AE0249653720}" type="pres">
      <dgm:prSet presAssocID="{9A999260-35C8-48FF-870A-1F924D86978F}" presName="descendantText" presStyleLbl="alignAcc1" presStyleIdx="1" presStyleCnt="3">
        <dgm:presLayoutVars>
          <dgm:bulletEnabled val="1"/>
        </dgm:presLayoutVars>
      </dgm:prSet>
      <dgm:spPr/>
    </dgm:pt>
    <dgm:pt modelId="{F76A4E80-1081-4FEA-B0A8-B2CDD4D5E9E8}" type="pres">
      <dgm:prSet presAssocID="{C5CD11D1-CAEF-43AE-A2CC-51464B6149D2}" presName="sp" presStyleCnt="0"/>
      <dgm:spPr/>
    </dgm:pt>
    <dgm:pt modelId="{7EB70F6D-8905-4F53-A0CC-A6D046333895}" type="pres">
      <dgm:prSet presAssocID="{13810803-EAD3-40B8-8AC8-EC36D14FD0DE}" presName="composite" presStyleCnt="0"/>
      <dgm:spPr/>
    </dgm:pt>
    <dgm:pt modelId="{C4C0717A-15D9-42A1-AF6E-4B02FA244B17}" type="pres">
      <dgm:prSet presAssocID="{13810803-EAD3-40B8-8AC8-EC36D14FD0DE}" presName="parentText" presStyleLbl="alignNode1" presStyleIdx="2" presStyleCnt="3">
        <dgm:presLayoutVars>
          <dgm:chMax val="1"/>
          <dgm:bulletEnabled val="1"/>
        </dgm:presLayoutVars>
      </dgm:prSet>
      <dgm:spPr/>
    </dgm:pt>
    <dgm:pt modelId="{553A845E-ADCF-480B-B1F3-222868D30353}" type="pres">
      <dgm:prSet presAssocID="{13810803-EAD3-40B8-8AC8-EC36D14FD0DE}" presName="descendantText" presStyleLbl="alignAcc1" presStyleIdx="2" presStyleCnt="3">
        <dgm:presLayoutVars>
          <dgm:bulletEnabled val="1"/>
        </dgm:presLayoutVars>
      </dgm:prSet>
      <dgm:spPr/>
    </dgm:pt>
  </dgm:ptLst>
  <dgm:cxnLst>
    <dgm:cxn modelId="{C570CF00-8949-43DE-BFE6-821AC149508B}" type="presOf" srcId="{1B27FEAD-38F1-4934-91D2-C6C87E5416D5}" destId="{A1000BC5-3914-4598-A7A8-11E7CEE2E0C1}" srcOrd="0" destOrd="0" presId="urn:microsoft.com/office/officeart/2005/8/layout/chevron2"/>
    <dgm:cxn modelId="{59D36C0B-ED32-4B67-9A1A-3ADC9D82033B}" srcId="{C17CE446-B002-484A-B369-A0EEF2EDB7E8}" destId="{2220E54F-1299-4752-B55D-1EFBA0F5F8E2}" srcOrd="0" destOrd="0" parTransId="{7B2B6B60-84EC-47A1-8567-EB8882B083C1}" sibTransId="{87A6D0D8-19E0-461C-9FA1-8F4D1632DFDE}"/>
    <dgm:cxn modelId="{4FAB3427-5AED-4BD7-AA68-440153D542BD}" srcId="{1B27FEAD-38F1-4934-91D2-C6C87E5416D5}" destId="{C17CE446-B002-484A-B369-A0EEF2EDB7E8}" srcOrd="0" destOrd="0" parTransId="{8583E3C3-038A-4387-AD5B-B12CB8C4FF9C}" sibTransId="{85481D11-F594-41CF-89F1-576F30E39042}"/>
    <dgm:cxn modelId="{BD264F2B-0B47-4A9B-B8EE-CBA907AE2315}" type="presOf" srcId="{C17CE446-B002-484A-B369-A0EEF2EDB7E8}" destId="{492278BC-658A-4536-84E1-0024C1C5D68A}" srcOrd="0" destOrd="0" presId="urn:microsoft.com/office/officeart/2005/8/layout/chevron2"/>
    <dgm:cxn modelId="{8B852233-A37D-4E25-9794-F1BECDD63E72}" srcId="{9A999260-35C8-48FF-870A-1F924D86978F}" destId="{5778CF29-3603-4EB0-859A-7FC1FD679FCB}" srcOrd="0" destOrd="0" parTransId="{6CB93CDD-2941-4DD6-A5D0-0293A22DDF59}" sibTransId="{71E0EF4E-283F-42B8-9704-9369E63FFD87}"/>
    <dgm:cxn modelId="{6A5A2B61-69F3-491E-861E-C67690104926}" type="presOf" srcId="{9A999260-35C8-48FF-870A-1F924D86978F}" destId="{5F7980EE-6ED2-454C-A9A5-BF60EDC18F11}" srcOrd="0" destOrd="0" presId="urn:microsoft.com/office/officeart/2005/8/layout/chevron2"/>
    <dgm:cxn modelId="{B4D2F453-599D-4BD4-85EC-A731C3C9A08A}" srcId="{13810803-EAD3-40B8-8AC8-EC36D14FD0DE}" destId="{24859BCB-6A03-4CE5-87F8-1A59922425DF}" srcOrd="0" destOrd="0" parTransId="{84A1CDC5-B199-45B7-AB8B-E127AB89DAFC}" sibTransId="{1AE55C4D-ABE8-4966-A213-3242112A5C38}"/>
    <dgm:cxn modelId="{D4263A87-AE80-40BA-A597-05FFB561B1A3}" type="presOf" srcId="{2220E54F-1299-4752-B55D-1EFBA0F5F8E2}" destId="{ABB8E84C-D255-44A9-AB98-7A5682D0C3B3}" srcOrd="0" destOrd="0" presId="urn:microsoft.com/office/officeart/2005/8/layout/chevron2"/>
    <dgm:cxn modelId="{9D9A6C8F-075C-4692-98B3-875A4D0FE5C3}" srcId="{1B27FEAD-38F1-4934-91D2-C6C87E5416D5}" destId="{13810803-EAD3-40B8-8AC8-EC36D14FD0DE}" srcOrd="2" destOrd="0" parTransId="{3178A803-465E-4954-8BD2-9B1202AB52B6}" sibTransId="{3BB875EB-A573-4861-BB2F-B490EE5F2DE9}"/>
    <dgm:cxn modelId="{718A9D93-63F9-4FBB-AF34-68BF036A9A8E}" type="presOf" srcId="{13810803-EAD3-40B8-8AC8-EC36D14FD0DE}" destId="{C4C0717A-15D9-42A1-AF6E-4B02FA244B17}" srcOrd="0" destOrd="0" presId="urn:microsoft.com/office/officeart/2005/8/layout/chevron2"/>
    <dgm:cxn modelId="{308EBAAC-2C5A-44BF-BAA3-C39FFC260D13}" type="presOf" srcId="{24859BCB-6A03-4CE5-87F8-1A59922425DF}" destId="{553A845E-ADCF-480B-B1F3-222868D30353}" srcOrd="0" destOrd="0" presId="urn:microsoft.com/office/officeart/2005/8/layout/chevron2"/>
    <dgm:cxn modelId="{C7B989E7-366B-48B7-BEB4-EA26A31F8563}" srcId="{1B27FEAD-38F1-4934-91D2-C6C87E5416D5}" destId="{9A999260-35C8-48FF-870A-1F924D86978F}" srcOrd="1" destOrd="0" parTransId="{528B3351-527B-48F6-BAD6-1DFE8C6A55CD}" sibTransId="{C5CD11D1-CAEF-43AE-A2CC-51464B6149D2}"/>
    <dgm:cxn modelId="{CA9CA2F8-2A3F-4095-8844-472FD70FE6FA}" type="presOf" srcId="{5778CF29-3603-4EB0-859A-7FC1FD679FCB}" destId="{2394C5A8-9809-4B0B-ACAA-AE0249653720}" srcOrd="0" destOrd="0" presId="urn:microsoft.com/office/officeart/2005/8/layout/chevron2"/>
    <dgm:cxn modelId="{9989FEC0-DEE2-4B01-BB4C-937820748AAC}" type="presParOf" srcId="{A1000BC5-3914-4598-A7A8-11E7CEE2E0C1}" destId="{56B018F1-A3FC-4FE7-9390-C171266CCC3F}" srcOrd="0" destOrd="0" presId="urn:microsoft.com/office/officeart/2005/8/layout/chevron2"/>
    <dgm:cxn modelId="{3B20F01B-F449-4576-82DA-CFB683A7A177}" type="presParOf" srcId="{56B018F1-A3FC-4FE7-9390-C171266CCC3F}" destId="{492278BC-658A-4536-84E1-0024C1C5D68A}" srcOrd="0" destOrd="0" presId="urn:microsoft.com/office/officeart/2005/8/layout/chevron2"/>
    <dgm:cxn modelId="{4E389416-E577-4B09-9D17-7C846BA1D89E}" type="presParOf" srcId="{56B018F1-A3FC-4FE7-9390-C171266CCC3F}" destId="{ABB8E84C-D255-44A9-AB98-7A5682D0C3B3}" srcOrd="1" destOrd="0" presId="urn:microsoft.com/office/officeart/2005/8/layout/chevron2"/>
    <dgm:cxn modelId="{E9D18238-BBE3-4FDA-AC69-E500FD7D5324}" type="presParOf" srcId="{A1000BC5-3914-4598-A7A8-11E7CEE2E0C1}" destId="{FA35B06D-0663-4F13-9358-8035EDCDC037}" srcOrd="1" destOrd="0" presId="urn:microsoft.com/office/officeart/2005/8/layout/chevron2"/>
    <dgm:cxn modelId="{1BABDF3D-9F12-4575-B03F-7B64A67A0DAA}" type="presParOf" srcId="{A1000BC5-3914-4598-A7A8-11E7CEE2E0C1}" destId="{AAFF419F-5AB8-4CE6-86A2-1D4DEAF2131D}" srcOrd="2" destOrd="0" presId="urn:microsoft.com/office/officeart/2005/8/layout/chevron2"/>
    <dgm:cxn modelId="{952F4BDE-5F82-4163-9047-92542D5C6584}" type="presParOf" srcId="{AAFF419F-5AB8-4CE6-86A2-1D4DEAF2131D}" destId="{5F7980EE-6ED2-454C-A9A5-BF60EDC18F11}" srcOrd="0" destOrd="0" presId="urn:microsoft.com/office/officeart/2005/8/layout/chevron2"/>
    <dgm:cxn modelId="{BFFEEA64-5D0A-461B-A4F5-2C7DE16D863C}" type="presParOf" srcId="{AAFF419F-5AB8-4CE6-86A2-1D4DEAF2131D}" destId="{2394C5A8-9809-4B0B-ACAA-AE0249653720}" srcOrd="1" destOrd="0" presId="urn:microsoft.com/office/officeart/2005/8/layout/chevron2"/>
    <dgm:cxn modelId="{CBDAE66E-19AD-4ABA-91CB-CC55A6CFCAC3}" type="presParOf" srcId="{A1000BC5-3914-4598-A7A8-11E7CEE2E0C1}" destId="{F76A4E80-1081-4FEA-B0A8-B2CDD4D5E9E8}" srcOrd="3" destOrd="0" presId="urn:microsoft.com/office/officeart/2005/8/layout/chevron2"/>
    <dgm:cxn modelId="{A9C6581B-0E8F-4974-95C2-2ADAE0F37463}" type="presParOf" srcId="{A1000BC5-3914-4598-A7A8-11E7CEE2E0C1}" destId="{7EB70F6D-8905-4F53-A0CC-A6D046333895}" srcOrd="4" destOrd="0" presId="urn:microsoft.com/office/officeart/2005/8/layout/chevron2"/>
    <dgm:cxn modelId="{B54EFE39-823A-4AAE-9860-1077590D7C63}" type="presParOf" srcId="{7EB70F6D-8905-4F53-A0CC-A6D046333895}" destId="{C4C0717A-15D9-42A1-AF6E-4B02FA244B17}" srcOrd="0" destOrd="0" presId="urn:microsoft.com/office/officeart/2005/8/layout/chevron2"/>
    <dgm:cxn modelId="{D1D7D12B-7C2A-41DD-A55A-EE5C215570E1}" type="presParOf" srcId="{7EB70F6D-8905-4F53-A0CC-A6D046333895}" destId="{553A845E-ADCF-480B-B1F3-222868D30353}"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4F535B0-3EC7-40EE-84CA-EAB983C14F56}" type="doc">
      <dgm:prSet loTypeId="urn:microsoft.com/office/officeart/2008/layout/VerticalAccentList"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Less familiarity</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Need to work with constraints</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Vendor lock-in</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570DF381-3875-444E-A01F-82EB97F08A78}" type="pres">
      <dgm:prSet presAssocID="{94F535B0-3EC7-40EE-84CA-EAB983C14F56}" presName="Name0" presStyleCnt="0">
        <dgm:presLayoutVars>
          <dgm:chMax/>
          <dgm:chPref/>
          <dgm:dir/>
        </dgm:presLayoutVars>
      </dgm:prSet>
      <dgm:spPr/>
    </dgm:pt>
    <dgm:pt modelId="{E7502D47-121A-4A50-BF0E-02EFE6FE4A74}" type="pres">
      <dgm:prSet presAssocID="{A6212DA1-0577-4879-BC48-6FD756139E40}" presName="parenttextcomposite" presStyleCnt="0"/>
      <dgm:spPr/>
    </dgm:pt>
    <dgm:pt modelId="{4D68F560-4B97-487B-84DB-96A8ADD769B2}" type="pres">
      <dgm:prSet presAssocID="{A6212DA1-0577-4879-BC48-6FD756139E40}" presName="parenttext" presStyleLbl="revTx" presStyleIdx="0" presStyleCnt="3">
        <dgm:presLayoutVars>
          <dgm:chMax/>
          <dgm:chPref val="2"/>
          <dgm:bulletEnabled val="1"/>
        </dgm:presLayoutVars>
      </dgm:prSet>
      <dgm:spPr/>
    </dgm:pt>
    <dgm:pt modelId="{695D45CE-8094-441B-9D6E-CD508E9E7801}" type="pres">
      <dgm:prSet presAssocID="{A6212DA1-0577-4879-BC48-6FD756139E40}" presName="parallelogramComposite" presStyleCnt="0"/>
      <dgm:spPr/>
    </dgm:pt>
    <dgm:pt modelId="{9A1CD9D9-750B-4F4F-9B04-CD9EAF98A833}" type="pres">
      <dgm:prSet presAssocID="{A6212DA1-0577-4879-BC48-6FD756139E40}" presName="parallelogram1" presStyleLbl="alignNode1" presStyleIdx="0" presStyleCnt="21"/>
      <dgm:spPr/>
    </dgm:pt>
    <dgm:pt modelId="{1408E809-F190-4574-8566-E644C1A8F160}" type="pres">
      <dgm:prSet presAssocID="{A6212DA1-0577-4879-BC48-6FD756139E40}" presName="parallelogram2" presStyleLbl="alignNode1" presStyleIdx="1" presStyleCnt="21"/>
      <dgm:spPr/>
    </dgm:pt>
    <dgm:pt modelId="{4C50135F-336F-42EC-95EB-0229BA4B822C}" type="pres">
      <dgm:prSet presAssocID="{A6212DA1-0577-4879-BC48-6FD756139E40}" presName="parallelogram3" presStyleLbl="alignNode1" presStyleIdx="2" presStyleCnt="21"/>
      <dgm:spPr/>
    </dgm:pt>
    <dgm:pt modelId="{F06D3DA6-41C7-4E3F-9668-B8035C9E7479}" type="pres">
      <dgm:prSet presAssocID="{A6212DA1-0577-4879-BC48-6FD756139E40}" presName="parallelogram4" presStyleLbl="alignNode1" presStyleIdx="3" presStyleCnt="21"/>
      <dgm:spPr/>
    </dgm:pt>
    <dgm:pt modelId="{39A4DC12-7B25-4686-A334-054B9AA8D154}" type="pres">
      <dgm:prSet presAssocID="{A6212DA1-0577-4879-BC48-6FD756139E40}" presName="parallelogram5" presStyleLbl="alignNode1" presStyleIdx="4" presStyleCnt="21"/>
      <dgm:spPr/>
    </dgm:pt>
    <dgm:pt modelId="{FA455300-7285-429D-A54A-673C05B710CC}" type="pres">
      <dgm:prSet presAssocID="{A6212DA1-0577-4879-BC48-6FD756139E40}" presName="parallelogram6" presStyleLbl="alignNode1" presStyleIdx="5" presStyleCnt="21"/>
      <dgm:spPr/>
    </dgm:pt>
    <dgm:pt modelId="{AA9F137B-52FA-4702-AC12-BA375C60538C}" type="pres">
      <dgm:prSet presAssocID="{A6212DA1-0577-4879-BC48-6FD756139E40}" presName="parallelogram7" presStyleLbl="alignNode1" presStyleIdx="6" presStyleCnt="21"/>
      <dgm:spPr/>
    </dgm:pt>
    <dgm:pt modelId="{6784E3B8-2789-4AA9-843C-2AFA193190B3}" type="pres">
      <dgm:prSet presAssocID="{E8E1801F-A179-4C3B-956E-23AC065A5A35}" presName="sibTrans" presStyleCnt="0"/>
      <dgm:spPr/>
    </dgm:pt>
    <dgm:pt modelId="{084DF776-3CF8-4A35-B5C0-2A3CD1911756}" type="pres">
      <dgm:prSet presAssocID="{918BD176-E82B-43DD-ACF5-EC4614571D6F}" presName="parenttextcomposite" presStyleCnt="0"/>
      <dgm:spPr/>
    </dgm:pt>
    <dgm:pt modelId="{ABB437BC-8901-48FC-9076-105F2B43510E}" type="pres">
      <dgm:prSet presAssocID="{918BD176-E82B-43DD-ACF5-EC4614571D6F}" presName="parenttext" presStyleLbl="revTx" presStyleIdx="1" presStyleCnt="3">
        <dgm:presLayoutVars>
          <dgm:chMax/>
          <dgm:chPref val="2"/>
          <dgm:bulletEnabled val="1"/>
        </dgm:presLayoutVars>
      </dgm:prSet>
      <dgm:spPr/>
    </dgm:pt>
    <dgm:pt modelId="{F52D9201-AF18-4D42-8660-837E89B07C71}" type="pres">
      <dgm:prSet presAssocID="{918BD176-E82B-43DD-ACF5-EC4614571D6F}" presName="parallelogramComposite" presStyleCnt="0"/>
      <dgm:spPr/>
    </dgm:pt>
    <dgm:pt modelId="{90FC1EC3-DEE6-4556-B4C8-B049B599FB42}" type="pres">
      <dgm:prSet presAssocID="{918BD176-E82B-43DD-ACF5-EC4614571D6F}" presName="parallelogram1" presStyleLbl="alignNode1" presStyleIdx="7" presStyleCnt="21"/>
      <dgm:spPr/>
    </dgm:pt>
    <dgm:pt modelId="{EB16AFA5-7CB1-4DB6-8F76-ADD862C3F086}" type="pres">
      <dgm:prSet presAssocID="{918BD176-E82B-43DD-ACF5-EC4614571D6F}" presName="parallelogram2" presStyleLbl="alignNode1" presStyleIdx="8" presStyleCnt="21"/>
      <dgm:spPr/>
    </dgm:pt>
    <dgm:pt modelId="{A2F25226-7237-4D8E-92BF-8D68ABC6FFB8}" type="pres">
      <dgm:prSet presAssocID="{918BD176-E82B-43DD-ACF5-EC4614571D6F}" presName="parallelogram3" presStyleLbl="alignNode1" presStyleIdx="9" presStyleCnt="21"/>
      <dgm:spPr/>
    </dgm:pt>
    <dgm:pt modelId="{19547312-D9F8-4350-86A1-1C040B38C29C}" type="pres">
      <dgm:prSet presAssocID="{918BD176-E82B-43DD-ACF5-EC4614571D6F}" presName="parallelogram4" presStyleLbl="alignNode1" presStyleIdx="10" presStyleCnt="21"/>
      <dgm:spPr/>
    </dgm:pt>
    <dgm:pt modelId="{90F9D93B-368C-47DA-ABF0-E96E4D35BCB1}" type="pres">
      <dgm:prSet presAssocID="{918BD176-E82B-43DD-ACF5-EC4614571D6F}" presName="parallelogram5" presStyleLbl="alignNode1" presStyleIdx="11" presStyleCnt="21"/>
      <dgm:spPr/>
    </dgm:pt>
    <dgm:pt modelId="{AF8D96B1-434D-4797-9310-486419B3E7A0}" type="pres">
      <dgm:prSet presAssocID="{918BD176-E82B-43DD-ACF5-EC4614571D6F}" presName="parallelogram6" presStyleLbl="alignNode1" presStyleIdx="12" presStyleCnt="21"/>
      <dgm:spPr/>
    </dgm:pt>
    <dgm:pt modelId="{7CA3BC49-B45C-4005-879C-11604E3F08BF}" type="pres">
      <dgm:prSet presAssocID="{918BD176-E82B-43DD-ACF5-EC4614571D6F}" presName="parallelogram7" presStyleLbl="alignNode1" presStyleIdx="13" presStyleCnt="21"/>
      <dgm:spPr/>
    </dgm:pt>
    <dgm:pt modelId="{95BCE89F-9CDA-4157-ABE5-FA3BE566E608}" type="pres">
      <dgm:prSet presAssocID="{748C5FBA-908F-45C4-B87B-85EB132D5D1C}" presName="sibTrans" presStyleCnt="0"/>
      <dgm:spPr/>
    </dgm:pt>
    <dgm:pt modelId="{8A80CACB-05B1-44D6-972F-3F4C5944E9D6}" type="pres">
      <dgm:prSet presAssocID="{6F2D8C25-FB94-4C97-AD7A-91AF5DE78104}" presName="parenttextcomposite" presStyleCnt="0"/>
      <dgm:spPr/>
    </dgm:pt>
    <dgm:pt modelId="{E2A8C97A-4062-4C56-BF39-658B22A4C2B3}" type="pres">
      <dgm:prSet presAssocID="{6F2D8C25-FB94-4C97-AD7A-91AF5DE78104}" presName="parenttext" presStyleLbl="revTx" presStyleIdx="2" presStyleCnt="3">
        <dgm:presLayoutVars>
          <dgm:chMax/>
          <dgm:chPref val="2"/>
          <dgm:bulletEnabled val="1"/>
        </dgm:presLayoutVars>
      </dgm:prSet>
      <dgm:spPr/>
    </dgm:pt>
    <dgm:pt modelId="{6210C2B8-D9D0-4448-9A56-C492DC64C9AA}" type="pres">
      <dgm:prSet presAssocID="{6F2D8C25-FB94-4C97-AD7A-91AF5DE78104}" presName="parallelogramComposite" presStyleCnt="0"/>
      <dgm:spPr/>
    </dgm:pt>
    <dgm:pt modelId="{4AF8C838-FAB6-4065-8B3D-4A3C67CDDE37}" type="pres">
      <dgm:prSet presAssocID="{6F2D8C25-FB94-4C97-AD7A-91AF5DE78104}" presName="parallelogram1" presStyleLbl="alignNode1" presStyleIdx="14" presStyleCnt="21"/>
      <dgm:spPr/>
    </dgm:pt>
    <dgm:pt modelId="{D3ECA08C-8262-4479-A631-1B237251643F}" type="pres">
      <dgm:prSet presAssocID="{6F2D8C25-FB94-4C97-AD7A-91AF5DE78104}" presName="parallelogram2" presStyleLbl="alignNode1" presStyleIdx="15" presStyleCnt="21"/>
      <dgm:spPr/>
    </dgm:pt>
    <dgm:pt modelId="{197A0A96-EF8A-44B3-9A44-E6E11FC8A596}" type="pres">
      <dgm:prSet presAssocID="{6F2D8C25-FB94-4C97-AD7A-91AF5DE78104}" presName="parallelogram3" presStyleLbl="alignNode1" presStyleIdx="16" presStyleCnt="21"/>
      <dgm:spPr/>
    </dgm:pt>
    <dgm:pt modelId="{D8FF47CF-6E7A-4189-AFFA-DCCDDFEA25CE}" type="pres">
      <dgm:prSet presAssocID="{6F2D8C25-FB94-4C97-AD7A-91AF5DE78104}" presName="parallelogram4" presStyleLbl="alignNode1" presStyleIdx="17" presStyleCnt="21"/>
      <dgm:spPr/>
    </dgm:pt>
    <dgm:pt modelId="{42D5D7C0-8377-4DC8-967F-E22A0B1C2C65}" type="pres">
      <dgm:prSet presAssocID="{6F2D8C25-FB94-4C97-AD7A-91AF5DE78104}" presName="parallelogram5" presStyleLbl="alignNode1" presStyleIdx="18" presStyleCnt="21"/>
      <dgm:spPr/>
    </dgm:pt>
    <dgm:pt modelId="{98640E5A-FCF4-4AE6-B161-147867B8F774}" type="pres">
      <dgm:prSet presAssocID="{6F2D8C25-FB94-4C97-AD7A-91AF5DE78104}" presName="parallelogram6" presStyleLbl="alignNode1" presStyleIdx="19" presStyleCnt="21"/>
      <dgm:spPr/>
    </dgm:pt>
    <dgm:pt modelId="{0FB718D9-CE0E-4EB5-8BD8-67BF5D454FEA}" type="pres">
      <dgm:prSet presAssocID="{6F2D8C25-FB94-4C97-AD7A-91AF5DE78104}" presName="parallelogram7" presStyleLbl="alignNode1" presStyleIdx="20" presStyleCnt="21"/>
      <dgm:spPr/>
    </dgm:pt>
  </dgm:ptLst>
  <dgm:cxnLst>
    <dgm:cxn modelId="{9FA24B06-EB5F-4209-B498-6917C750CD97}" srcId="{94F535B0-3EC7-40EE-84CA-EAB983C14F56}" destId="{A6212DA1-0577-4879-BC48-6FD756139E40}" srcOrd="0" destOrd="0" parTransId="{9EB2B6EA-ACE8-4DC9-ABC0-8614FCA3DAEA}" sibTransId="{E8E1801F-A179-4C3B-956E-23AC065A5A35}"/>
    <dgm:cxn modelId="{F9375A25-8DF5-42FA-8303-B8FA513516CE}" type="presOf" srcId="{A6212DA1-0577-4879-BC48-6FD756139E40}" destId="{4D68F560-4B97-487B-84DB-96A8ADD769B2}" srcOrd="0" destOrd="0" presId="urn:microsoft.com/office/officeart/2008/layout/VerticalAccentList"/>
    <dgm:cxn modelId="{85BF6129-F171-49AB-8CA2-C4F1C33436EA}" type="presOf" srcId="{6F2D8C25-FB94-4C97-AD7A-91AF5DE78104}" destId="{E2A8C97A-4062-4C56-BF39-658B22A4C2B3}" srcOrd="0" destOrd="0" presId="urn:microsoft.com/office/officeart/2008/layout/VerticalAccentList"/>
    <dgm:cxn modelId="{8C35F334-7F46-4A90-9294-529ADA83E793}" srcId="{94F535B0-3EC7-40EE-84CA-EAB983C14F56}" destId="{6F2D8C25-FB94-4C97-AD7A-91AF5DE78104}" srcOrd="2" destOrd="0" parTransId="{3C5929E6-2113-4814-9F8E-394FD3447C21}" sibTransId="{89373D55-CDFE-49EF-A102-31E5CE8E5B0E}"/>
    <dgm:cxn modelId="{CBDBCB75-1738-4831-A815-102EF3A74B6B}" srcId="{94F535B0-3EC7-40EE-84CA-EAB983C14F56}" destId="{918BD176-E82B-43DD-ACF5-EC4614571D6F}" srcOrd="1" destOrd="0" parTransId="{A601F90A-5D46-4027-8BB9-DEA46DB30144}" sibTransId="{748C5FBA-908F-45C4-B87B-85EB132D5D1C}"/>
    <dgm:cxn modelId="{3C2A8BA8-75D5-4D17-A7AB-69833504CADD}" type="presOf" srcId="{918BD176-E82B-43DD-ACF5-EC4614571D6F}" destId="{ABB437BC-8901-48FC-9076-105F2B43510E}" srcOrd="0" destOrd="0" presId="urn:microsoft.com/office/officeart/2008/layout/VerticalAccentList"/>
    <dgm:cxn modelId="{6C3B84D1-92F0-4454-B33F-E2C6EF077E82}" type="presOf" srcId="{94F535B0-3EC7-40EE-84CA-EAB983C14F56}" destId="{570DF381-3875-444E-A01F-82EB97F08A78}" srcOrd="0" destOrd="0" presId="urn:microsoft.com/office/officeart/2008/layout/VerticalAccentList"/>
    <dgm:cxn modelId="{34530F00-2BFA-4304-AB07-230973DA8BE5}" type="presParOf" srcId="{570DF381-3875-444E-A01F-82EB97F08A78}" destId="{E7502D47-121A-4A50-BF0E-02EFE6FE4A74}" srcOrd="0" destOrd="0" presId="urn:microsoft.com/office/officeart/2008/layout/VerticalAccentList"/>
    <dgm:cxn modelId="{B5B0BDBB-8390-4F67-8715-2B4B482CCBEC}" type="presParOf" srcId="{E7502D47-121A-4A50-BF0E-02EFE6FE4A74}" destId="{4D68F560-4B97-487B-84DB-96A8ADD769B2}" srcOrd="0" destOrd="0" presId="urn:microsoft.com/office/officeart/2008/layout/VerticalAccentList"/>
    <dgm:cxn modelId="{05B234F9-8DD8-4234-A5EB-DDDEA0A25B3D}" type="presParOf" srcId="{570DF381-3875-444E-A01F-82EB97F08A78}" destId="{695D45CE-8094-441B-9D6E-CD508E9E7801}" srcOrd="1" destOrd="0" presId="urn:microsoft.com/office/officeart/2008/layout/VerticalAccentList"/>
    <dgm:cxn modelId="{6AC67C8A-1250-450F-9660-83CD08B34BC9}" type="presParOf" srcId="{695D45CE-8094-441B-9D6E-CD508E9E7801}" destId="{9A1CD9D9-750B-4F4F-9B04-CD9EAF98A833}" srcOrd="0" destOrd="0" presId="urn:microsoft.com/office/officeart/2008/layout/VerticalAccentList"/>
    <dgm:cxn modelId="{DED41DE7-839A-491D-9192-285AB1D181DE}" type="presParOf" srcId="{695D45CE-8094-441B-9D6E-CD508E9E7801}" destId="{1408E809-F190-4574-8566-E644C1A8F160}" srcOrd="1" destOrd="0" presId="urn:microsoft.com/office/officeart/2008/layout/VerticalAccentList"/>
    <dgm:cxn modelId="{01F6ED81-DF27-439E-9A5A-FD1E8488FEEA}" type="presParOf" srcId="{695D45CE-8094-441B-9D6E-CD508E9E7801}" destId="{4C50135F-336F-42EC-95EB-0229BA4B822C}" srcOrd="2" destOrd="0" presId="urn:microsoft.com/office/officeart/2008/layout/VerticalAccentList"/>
    <dgm:cxn modelId="{51E55B7A-483A-4666-81B2-77684F1C0862}" type="presParOf" srcId="{695D45CE-8094-441B-9D6E-CD508E9E7801}" destId="{F06D3DA6-41C7-4E3F-9668-B8035C9E7479}" srcOrd="3" destOrd="0" presId="urn:microsoft.com/office/officeart/2008/layout/VerticalAccentList"/>
    <dgm:cxn modelId="{E456B4D0-4C07-434B-8FF5-DE99A54324E2}" type="presParOf" srcId="{695D45CE-8094-441B-9D6E-CD508E9E7801}" destId="{39A4DC12-7B25-4686-A334-054B9AA8D154}" srcOrd="4" destOrd="0" presId="urn:microsoft.com/office/officeart/2008/layout/VerticalAccentList"/>
    <dgm:cxn modelId="{E4BEC5E0-50DD-41D8-B3CE-D2517AAAD2ED}" type="presParOf" srcId="{695D45CE-8094-441B-9D6E-CD508E9E7801}" destId="{FA455300-7285-429D-A54A-673C05B710CC}" srcOrd="5" destOrd="0" presId="urn:microsoft.com/office/officeart/2008/layout/VerticalAccentList"/>
    <dgm:cxn modelId="{8597938C-9295-48E1-8149-FBDD8EA21FE3}" type="presParOf" srcId="{695D45CE-8094-441B-9D6E-CD508E9E7801}" destId="{AA9F137B-52FA-4702-AC12-BA375C60538C}" srcOrd="6" destOrd="0" presId="urn:microsoft.com/office/officeart/2008/layout/VerticalAccentList"/>
    <dgm:cxn modelId="{6BC7503A-A66C-4E5C-90A7-E9AF180B41FD}" type="presParOf" srcId="{570DF381-3875-444E-A01F-82EB97F08A78}" destId="{6784E3B8-2789-4AA9-843C-2AFA193190B3}" srcOrd="2" destOrd="0" presId="urn:microsoft.com/office/officeart/2008/layout/VerticalAccentList"/>
    <dgm:cxn modelId="{7C686893-1583-4966-B36B-A84A92D28C8A}" type="presParOf" srcId="{570DF381-3875-444E-A01F-82EB97F08A78}" destId="{084DF776-3CF8-4A35-B5C0-2A3CD1911756}" srcOrd="3" destOrd="0" presId="urn:microsoft.com/office/officeart/2008/layout/VerticalAccentList"/>
    <dgm:cxn modelId="{DC7C3C93-56E8-479F-A799-50CAAE07BFF6}" type="presParOf" srcId="{084DF776-3CF8-4A35-B5C0-2A3CD1911756}" destId="{ABB437BC-8901-48FC-9076-105F2B43510E}" srcOrd="0" destOrd="0" presId="urn:microsoft.com/office/officeart/2008/layout/VerticalAccentList"/>
    <dgm:cxn modelId="{AA540C29-E1C9-48C8-85E3-875D90037313}" type="presParOf" srcId="{570DF381-3875-444E-A01F-82EB97F08A78}" destId="{F52D9201-AF18-4D42-8660-837E89B07C71}" srcOrd="4" destOrd="0" presId="urn:microsoft.com/office/officeart/2008/layout/VerticalAccentList"/>
    <dgm:cxn modelId="{347EB806-67E5-4EDC-94D5-21477B4E40C4}" type="presParOf" srcId="{F52D9201-AF18-4D42-8660-837E89B07C71}" destId="{90FC1EC3-DEE6-4556-B4C8-B049B599FB42}" srcOrd="0" destOrd="0" presId="urn:microsoft.com/office/officeart/2008/layout/VerticalAccentList"/>
    <dgm:cxn modelId="{EE3C7281-07F6-4E18-B361-22AA3D58311A}" type="presParOf" srcId="{F52D9201-AF18-4D42-8660-837E89B07C71}" destId="{EB16AFA5-7CB1-4DB6-8F76-ADD862C3F086}" srcOrd="1" destOrd="0" presId="urn:microsoft.com/office/officeart/2008/layout/VerticalAccentList"/>
    <dgm:cxn modelId="{02EA323E-DE4E-4821-9DCD-3F250FF9FED8}" type="presParOf" srcId="{F52D9201-AF18-4D42-8660-837E89B07C71}" destId="{A2F25226-7237-4D8E-92BF-8D68ABC6FFB8}" srcOrd="2" destOrd="0" presId="urn:microsoft.com/office/officeart/2008/layout/VerticalAccentList"/>
    <dgm:cxn modelId="{18B4909B-C30B-4D68-8CB5-2EBB6E8DCD02}" type="presParOf" srcId="{F52D9201-AF18-4D42-8660-837E89B07C71}" destId="{19547312-D9F8-4350-86A1-1C040B38C29C}" srcOrd="3" destOrd="0" presId="urn:microsoft.com/office/officeart/2008/layout/VerticalAccentList"/>
    <dgm:cxn modelId="{AECC9116-1404-45ED-A922-61FB04AE73B6}" type="presParOf" srcId="{F52D9201-AF18-4D42-8660-837E89B07C71}" destId="{90F9D93B-368C-47DA-ABF0-E96E4D35BCB1}" srcOrd="4" destOrd="0" presId="urn:microsoft.com/office/officeart/2008/layout/VerticalAccentList"/>
    <dgm:cxn modelId="{3457E9C6-076B-4B88-B32C-E390D09FD5E9}" type="presParOf" srcId="{F52D9201-AF18-4D42-8660-837E89B07C71}" destId="{AF8D96B1-434D-4797-9310-486419B3E7A0}" srcOrd="5" destOrd="0" presId="urn:microsoft.com/office/officeart/2008/layout/VerticalAccentList"/>
    <dgm:cxn modelId="{47DB31B8-BD85-42CA-9CA2-2413D19F0B93}" type="presParOf" srcId="{F52D9201-AF18-4D42-8660-837E89B07C71}" destId="{7CA3BC49-B45C-4005-879C-11604E3F08BF}" srcOrd="6" destOrd="0" presId="urn:microsoft.com/office/officeart/2008/layout/VerticalAccentList"/>
    <dgm:cxn modelId="{28E6D752-8F1B-4988-91AE-90408296C543}" type="presParOf" srcId="{570DF381-3875-444E-A01F-82EB97F08A78}" destId="{95BCE89F-9CDA-4157-ABE5-FA3BE566E608}" srcOrd="5" destOrd="0" presId="urn:microsoft.com/office/officeart/2008/layout/VerticalAccentList"/>
    <dgm:cxn modelId="{4B461662-EEEA-45AF-8ABD-F869AC3B693E}" type="presParOf" srcId="{570DF381-3875-444E-A01F-82EB97F08A78}" destId="{8A80CACB-05B1-44D6-972F-3F4C5944E9D6}" srcOrd="6" destOrd="0" presId="urn:microsoft.com/office/officeart/2008/layout/VerticalAccentList"/>
    <dgm:cxn modelId="{177ABF99-69D1-400B-8BE1-86C6280A5846}" type="presParOf" srcId="{8A80CACB-05B1-44D6-972F-3F4C5944E9D6}" destId="{E2A8C97A-4062-4C56-BF39-658B22A4C2B3}" srcOrd="0" destOrd="0" presId="urn:microsoft.com/office/officeart/2008/layout/VerticalAccentList"/>
    <dgm:cxn modelId="{104DC11B-1464-4CD6-9DB7-F7CD0850A1C4}" type="presParOf" srcId="{570DF381-3875-444E-A01F-82EB97F08A78}" destId="{6210C2B8-D9D0-4448-9A56-C492DC64C9AA}" srcOrd="7" destOrd="0" presId="urn:microsoft.com/office/officeart/2008/layout/VerticalAccentList"/>
    <dgm:cxn modelId="{F5BB9B0B-61DC-4EED-80DC-F2386062960B}" type="presParOf" srcId="{6210C2B8-D9D0-4448-9A56-C492DC64C9AA}" destId="{4AF8C838-FAB6-4065-8B3D-4A3C67CDDE37}" srcOrd="0" destOrd="0" presId="urn:microsoft.com/office/officeart/2008/layout/VerticalAccentList"/>
    <dgm:cxn modelId="{702A1468-7EEC-4CCA-B163-D5AD6DE05122}" type="presParOf" srcId="{6210C2B8-D9D0-4448-9A56-C492DC64C9AA}" destId="{D3ECA08C-8262-4479-A631-1B237251643F}" srcOrd="1" destOrd="0" presId="urn:microsoft.com/office/officeart/2008/layout/VerticalAccentList"/>
    <dgm:cxn modelId="{89C2B4EB-985E-40C0-8FC8-BBF711312F11}" type="presParOf" srcId="{6210C2B8-D9D0-4448-9A56-C492DC64C9AA}" destId="{197A0A96-EF8A-44B3-9A44-E6E11FC8A596}" srcOrd="2" destOrd="0" presId="urn:microsoft.com/office/officeart/2008/layout/VerticalAccentList"/>
    <dgm:cxn modelId="{A48392D2-DE36-4DB9-A34E-2B654881D853}" type="presParOf" srcId="{6210C2B8-D9D0-4448-9A56-C492DC64C9AA}" destId="{D8FF47CF-6E7A-4189-AFFA-DCCDDFEA25CE}" srcOrd="3" destOrd="0" presId="urn:microsoft.com/office/officeart/2008/layout/VerticalAccentList"/>
    <dgm:cxn modelId="{D0391171-E78A-427F-B3A8-5D9EE6CF2206}" type="presParOf" srcId="{6210C2B8-D9D0-4448-9A56-C492DC64C9AA}" destId="{42D5D7C0-8377-4DC8-967F-E22A0B1C2C65}" srcOrd="4" destOrd="0" presId="urn:microsoft.com/office/officeart/2008/layout/VerticalAccentList"/>
    <dgm:cxn modelId="{25DB4DB8-1374-4A97-83C4-B028B0AE575A}" type="presParOf" srcId="{6210C2B8-D9D0-4448-9A56-C492DC64C9AA}" destId="{98640E5A-FCF4-4AE6-B161-147867B8F774}" srcOrd="5" destOrd="0" presId="urn:microsoft.com/office/officeart/2008/layout/VerticalAccentList"/>
    <dgm:cxn modelId="{A1CD3F34-E76B-44AB-9E0D-D11A00B07113}" type="presParOf" srcId="{6210C2B8-D9D0-4448-9A56-C492DC64C9AA}" destId="{0FB718D9-CE0E-4EB5-8BD8-67BF5D454FEA}"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4F535B0-3EC7-40EE-84CA-EAB983C14F56}" type="doc">
      <dgm:prSet loTypeId="urn:microsoft.com/office/officeart/2005/8/layout/rings+Icon" loCatId="officeonline" qsTypeId="urn:microsoft.com/office/officeart/2005/8/quickstyle/simple1" qsCatId="simple" csTypeId="urn:microsoft.com/office/officeart/2005/8/colors/colorful1" csCatId="colorful" phldr="1"/>
      <dgm:spPr/>
    </dgm:pt>
    <dgm:pt modelId="{A6212DA1-0577-4879-BC48-6FD756139E40}">
      <dgm:prSet phldrT="[Text]"/>
      <dgm:spPr/>
      <dgm:t>
        <a:bodyPr/>
        <a:lstStyle/>
        <a:p>
          <a:r>
            <a:rPr lang="en-US" dirty="0"/>
            <a:t>Security</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Easy customization</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Compliance</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262597D8-5023-4CAD-A116-204BE9A303DF}">
      <dgm:prSet phldrT="[Text]"/>
      <dgm:spPr/>
      <dgm:t>
        <a:bodyPr/>
        <a:lstStyle/>
        <a:p>
          <a:r>
            <a:rPr lang="en-US" dirty="0"/>
            <a:t>Complete Control</a:t>
          </a:r>
        </a:p>
      </dgm:t>
    </dgm:pt>
    <dgm:pt modelId="{7F4CA0FD-CB74-47B8-AC0B-0F4B2137290E}" type="parTrans" cxnId="{79120C28-711E-47CF-A494-BA960833AC4D}">
      <dgm:prSet/>
      <dgm:spPr/>
      <dgm:t>
        <a:bodyPr/>
        <a:lstStyle/>
        <a:p>
          <a:endParaRPr lang="en-US"/>
        </a:p>
      </dgm:t>
    </dgm:pt>
    <dgm:pt modelId="{0B6A6EA1-301C-414E-9269-7B8E5F392D97}" type="sibTrans" cxnId="{79120C28-711E-47CF-A494-BA960833AC4D}">
      <dgm:prSet/>
      <dgm:spPr/>
      <dgm:t>
        <a:bodyPr/>
        <a:lstStyle/>
        <a:p>
          <a:endParaRPr lang="en-US"/>
        </a:p>
      </dgm:t>
    </dgm:pt>
    <dgm:pt modelId="{3BEB065F-2E6E-4054-A365-CCCD0ACA3E64}">
      <dgm:prSet phldrT="[Text]"/>
      <dgm:spPr/>
      <dgm:t>
        <a:bodyPr/>
        <a:lstStyle/>
        <a:p>
          <a:r>
            <a:rPr lang="en-US" dirty="0"/>
            <a:t>Superior Performance</a:t>
          </a:r>
        </a:p>
      </dgm:t>
    </dgm:pt>
    <dgm:pt modelId="{E6F06782-F79F-4E15-86A2-8D619FD0A2CF}" type="parTrans" cxnId="{A92A6666-D1AD-47DF-A6E5-BB58F33BCFF0}">
      <dgm:prSet/>
      <dgm:spPr/>
      <dgm:t>
        <a:bodyPr/>
        <a:lstStyle/>
        <a:p>
          <a:endParaRPr lang="en-US"/>
        </a:p>
      </dgm:t>
    </dgm:pt>
    <dgm:pt modelId="{0912EFDA-58BA-4A80-BCCF-929928375318}" type="sibTrans" cxnId="{A92A6666-D1AD-47DF-A6E5-BB58F33BCFF0}">
      <dgm:prSet/>
      <dgm:spPr/>
      <dgm:t>
        <a:bodyPr/>
        <a:lstStyle/>
        <a:p>
          <a:endParaRPr lang="en-US"/>
        </a:p>
      </dgm:t>
    </dgm:pt>
    <dgm:pt modelId="{FBA5E419-1B6D-436E-BF06-09E2FE9382E7}" type="pres">
      <dgm:prSet presAssocID="{94F535B0-3EC7-40EE-84CA-EAB983C14F56}" presName="Name0" presStyleCnt="0">
        <dgm:presLayoutVars>
          <dgm:chMax val="7"/>
          <dgm:dir/>
          <dgm:resizeHandles val="exact"/>
        </dgm:presLayoutVars>
      </dgm:prSet>
      <dgm:spPr/>
    </dgm:pt>
    <dgm:pt modelId="{86AE4029-A13B-4782-AFDF-6B88E4FDE0A0}" type="pres">
      <dgm:prSet presAssocID="{94F535B0-3EC7-40EE-84CA-EAB983C14F56}" presName="ellipse1" presStyleLbl="vennNode1" presStyleIdx="0" presStyleCnt="5">
        <dgm:presLayoutVars>
          <dgm:bulletEnabled val="1"/>
        </dgm:presLayoutVars>
      </dgm:prSet>
      <dgm:spPr/>
    </dgm:pt>
    <dgm:pt modelId="{6D2E4325-65D5-4C36-83F3-5FAA39EDDC76}" type="pres">
      <dgm:prSet presAssocID="{94F535B0-3EC7-40EE-84CA-EAB983C14F56}" presName="ellipse2" presStyleLbl="vennNode1" presStyleIdx="1" presStyleCnt="5">
        <dgm:presLayoutVars>
          <dgm:bulletEnabled val="1"/>
        </dgm:presLayoutVars>
      </dgm:prSet>
      <dgm:spPr/>
    </dgm:pt>
    <dgm:pt modelId="{2D5DA6B6-1D3B-4F5E-8AD3-B581B005C841}" type="pres">
      <dgm:prSet presAssocID="{94F535B0-3EC7-40EE-84CA-EAB983C14F56}" presName="ellipse3" presStyleLbl="vennNode1" presStyleIdx="2" presStyleCnt="5">
        <dgm:presLayoutVars>
          <dgm:bulletEnabled val="1"/>
        </dgm:presLayoutVars>
      </dgm:prSet>
      <dgm:spPr/>
    </dgm:pt>
    <dgm:pt modelId="{405227A5-096D-43C3-BC58-5268BBE481D0}" type="pres">
      <dgm:prSet presAssocID="{94F535B0-3EC7-40EE-84CA-EAB983C14F56}" presName="ellipse4" presStyleLbl="vennNode1" presStyleIdx="3" presStyleCnt="5">
        <dgm:presLayoutVars>
          <dgm:bulletEnabled val="1"/>
        </dgm:presLayoutVars>
      </dgm:prSet>
      <dgm:spPr/>
    </dgm:pt>
    <dgm:pt modelId="{529274E0-F4AE-4D1F-9479-0D3A8895E850}" type="pres">
      <dgm:prSet presAssocID="{94F535B0-3EC7-40EE-84CA-EAB983C14F56}" presName="ellipse5" presStyleLbl="vennNode1" presStyleIdx="4" presStyleCnt="5">
        <dgm:presLayoutVars>
          <dgm:bulletEnabled val="1"/>
        </dgm:presLayoutVars>
      </dgm:prSet>
      <dgm:spPr/>
    </dgm:pt>
  </dgm:ptLst>
  <dgm:cxnLst>
    <dgm:cxn modelId="{9FA24B06-EB5F-4209-B498-6917C750CD97}" srcId="{94F535B0-3EC7-40EE-84CA-EAB983C14F56}" destId="{A6212DA1-0577-4879-BC48-6FD756139E40}" srcOrd="1" destOrd="0" parTransId="{9EB2B6EA-ACE8-4DC9-ABC0-8614FCA3DAEA}" sibTransId="{E8E1801F-A179-4C3B-956E-23AC065A5A35}"/>
    <dgm:cxn modelId="{730C0E23-AD27-4B3C-B42D-8BBA1D67CA20}" type="presOf" srcId="{A6212DA1-0577-4879-BC48-6FD756139E40}" destId="{6D2E4325-65D5-4C36-83F3-5FAA39EDDC76}" srcOrd="0" destOrd="0" presId="urn:microsoft.com/office/officeart/2005/8/layout/rings+Icon"/>
    <dgm:cxn modelId="{79120C28-711E-47CF-A494-BA960833AC4D}" srcId="{94F535B0-3EC7-40EE-84CA-EAB983C14F56}" destId="{262597D8-5023-4CAD-A116-204BE9A303DF}" srcOrd="0" destOrd="0" parTransId="{7F4CA0FD-CB74-47B8-AC0B-0F4B2137290E}" sibTransId="{0B6A6EA1-301C-414E-9269-7B8E5F392D97}"/>
    <dgm:cxn modelId="{62025D2D-2863-49BC-A24B-7B5A70A92C20}" type="presOf" srcId="{3BEB065F-2E6E-4054-A365-CCCD0ACA3E64}" destId="{2D5DA6B6-1D3B-4F5E-8AD3-B581B005C841}" srcOrd="0" destOrd="0" presId="urn:microsoft.com/office/officeart/2005/8/layout/rings+Icon"/>
    <dgm:cxn modelId="{BB288B33-3AFE-4191-AB7A-C74D8023F03E}" type="presOf" srcId="{94F535B0-3EC7-40EE-84CA-EAB983C14F56}" destId="{FBA5E419-1B6D-436E-BF06-09E2FE9382E7}" srcOrd="0" destOrd="0" presId="urn:microsoft.com/office/officeart/2005/8/layout/rings+Icon"/>
    <dgm:cxn modelId="{8C35F334-7F46-4A90-9294-529ADA83E793}" srcId="{94F535B0-3EC7-40EE-84CA-EAB983C14F56}" destId="{6F2D8C25-FB94-4C97-AD7A-91AF5DE78104}" srcOrd="4" destOrd="0" parTransId="{3C5929E6-2113-4814-9F8E-394FD3447C21}" sibTransId="{89373D55-CDFE-49EF-A102-31E5CE8E5B0E}"/>
    <dgm:cxn modelId="{A92A6666-D1AD-47DF-A6E5-BB58F33BCFF0}" srcId="{94F535B0-3EC7-40EE-84CA-EAB983C14F56}" destId="{3BEB065F-2E6E-4054-A365-CCCD0ACA3E64}" srcOrd="2" destOrd="0" parTransId="{E6F06782-F79F-4E15-86A2-8D619FD0A2CF}" sibTransId="{0912EFDA-58BA-4A80-BCCF-929928375318}"/>
    <dgm:cxn modelId="{CBDBCB75-1738-4831-A815-102EF3A74B6B}" srcId="{94F535B0-3EC7-40EE-84CA-EAB983C14F56}" destId="{918BD176-E82B-43DD-ACF5-EC4614571D6F}" srcOrd="3" destOrd="0" parTransId="{A601F90A-5D46-4027-8BB9-DEA46DB30144}" sibTransId="{748C5FBA-908F-45C4-B87B-85EB132D5D1C}"/>
    <dgm:cxn modelId="{008D3599-9A46-4F9A-ADAE-62D318397FBB}" type="presOf" srcId="{6F2D8C25-FB94-4C97-AD7A-91AF5DE78104}" destId="{529274E0-F4AE-4D1F-9479-0D3A8895E850}" srcOrd="0" destOrd="0" presId="urn:microsoft.com/office/officeart/2005/8/layout/rings+Icon"/>
    <dgm:cxn modelId="{56929DB8-CB94-4CE0-AD29-B9F0D5E3658E}" type="presOf" srcId="{262597D8-5023-4CAD-A116-204BE9A303DF}" destId="{86AE4029-A13B-4782-AFDF-6B88E4FDE0A0}" srcOrd="0" destOrd="0" presId="urn:microsoft.com/office/officeart/2005/8/layout/rings+Icon"/>
    <dgm:cxn modelId="{9960CDF3-C820-4D70-AA02-E3827C013753}" type="presOf" srcId="{918BD176-E82B-43DD-ACF5-EC4614571D6F}" destId="{405227A5-096D-43C3-BC58-5268BBE481D0}" srcOrd="0" destOrd="0" presId="urn:microsoft.com/office/officeart/2005/8/layout/rings+Icon"/>
    <dgm:cxn modelId="{D14C5FD1-9C54-4049-9B4A-14B5771D11C9}" type="presParOf" srcId="{FBA5E419-1B6D-436E-BF06-09E2FE9382E7}" destId="{86AE4029-A13B-4782-AFDF-6B88E4FDE0A0}" srcOrd="0" destOrd="0" presId="urn:microsoft.com/office/officeart/2005/8/layout/rings+Icon"/>
    <dgm:cxn modelId="{17D6146E-E7F1-493C-B731-9C953BCCCA59}" type="presParOf" srcId="{FBA5E419-1B6D-436E-BF06-09E2FE9382E7}" destId="{6D2E4325-65D5-4C36-83F3-5FAA39EDDC76}" srcOrd="1" destOrd="0" presId="urn:microsoft.com/office/officeart/2005/8/layout/rings+Icon"/>
    <dgm:cxn modelId="{23BA5324-2F95-4148-AB33-6316D6666835}" type="presParOf" srcId="{FBA5E419-1B6D-436E-BF06-09E2FE9382E7}" destId="{2D5DA6B6-1D3B-4F5E-8AD3-B581B005C841}" srcOrd="2" destOrd="0" presId="urn:microsoft.com/office/officeart/2005/8/layout/rings+Icon"/>
    <dgm:cxn modelId="{75B8A498-7332-4900-AA93-224970ADB60A}" type="presParOf" srcId="{FBA5E419-1B6D-436E-BF06-09E2FE9382E7}" destId="{405227A5-096D-43C3-BC58-5268BBE481D0}" srcOrd="3" destOrd="0" presId="urn:microsoft.com/office/officeart/2005/8/layout/rings+Icon"/>
    <dgm:cxn modelId="{DB015C99-274A-4F7A-A246-096B04BFEB64}" type="presParOf" srcId="{FBA5E419-1B6D-436E-BF06-09E2FE9382E7}" destId="{529274E0-F4AE-4D1F-9479-0D3A8895E850}" srcOrd="4"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54B57A6-08FB-4E60-A40C-1EB0987D8580}" type="doc">
      <dgm:prSet loTypeId="urn:microsoft.com/office/officeart/2011/layout/CircleProcess" loCatId="officeonline" qsTypeId="urn:microsoft.com/office/officeart/2005/8/quickstyle/simple1" qsCatId="simple" csTypeId="urn:microsoft.com/office/officeart/2005/8/colors/colorful2" csCatId="colorful" phldr="1"/>
      <dgm:spPr/>
      <dgm:t>
        <a:bodyPr/>
        <a:lstStyle/>
        <a:p>
          <a:endParaRPr lang="en-US"/>
        </a:p>
      </dgm:t>
    </dgm:pt>
    <dgm:pt modelId="{3649D542-0E38-4308-B820-F2F560D73EBB}">
      <dgm:prSet phldrT="[Text]"/>
      <dgm:spPr/>
      <dgm:t>
        <a:bodyPr/>
        <a:lstStyle/>
        <a:p>
          <a:r>
            <a:rPr lang="en-US" dirty="0"/>
            <a:t>Hybrid Cloud</a:t>
          </a:r>
        </a:p>
      </dgm:t>
    </dgm:pt>
    <dgm:pt modelId="{E840E19B-700F-498A-9E56-6D7C6EC82B8C}" type="parTrans" cxnId="{8D4735A3-A3D8-428F-93DD-0535E8C776FE}">
      <dgm:prSet/>
      <dgm:spPr/>
      <dgm:t>
        <a:bodyPr/>
        <a:lstStyle/>
        <a:p>
          <a:endParaRPr lang="en-US"/>
        </a:p>
      </dgm:t>
    </dgm:pt>
    <dgm:pt modelId="{3ECC062A-3D2D-4D9A-97F5-026AC378B5B8}" type="sibTrans" cxnId="{8D4735A3-A3D8-428F-93DD-0535E8C776FE}">
      <dgm:prSet/>
      <dgm:spPr/>
      <dgm:t>
        <a:bodyPr/>
        <a:lstStyle/>
        <a:p>
          <a:endParaRPr lang="en-US"/>
        </a:p>
      </dgm:t>
    </dgm:pt>
    <dgm:pt modelId="{980132DE-4B57-4615-92BF-0C4DE085A510}">
      <dgm:prSet phldrT="[Text]"/>
      <dgm:spPr/>
      <dgm:t>
        <a:bodyPr/>
        <a:lstStyle/>
        <a:p>
          <a:r>
            <a:rPr lang="en-US" dirty="0"/>
            <a:t>Public Cloud</a:t>
          </a:r>
        </a:p>
      </dgm:t>
    </dgm:pt>
    <dgm:pt modelId="{A4F2B9D4-93B8-4220-B38B-E5602E166DE2}" type="parTrans" cxnId="{83414CC3-6F85-4A79-91A7-3EEC23A30AA8}">
      <dgm:prSet/>
      <dgm:spPr/>
      <dgm:t>
        <a:bodyPr/>
        <a:lstStyle/>
        <a:p>
          <a:endParaRPr lang="en-US"/>
        </a:p>
      </dgm:t>
    </dgm:pt>
    <dgm:pt modelId="{E5713246-1C41-4069-A09B-57CAB83CC00C}" type="sibTrans" cxnId="{83414CC3-6F85-4A79-91A7-3EEC23A30AA8}">
      <dgm:prSet/>
      <dgm:spPr/>
      <dgm:t>
        <a:bodyPr/>
        <a:lstStyle/>
        <a:p>
          <a:endParaRPr lang="en-US"/>
        </a:p>
      </dgm:t>
    </dgm:pt>
    <dgm:pt modelId="{EE5EEEF4-2034-4085-898C-F652D84F700F}">
      <dgm:prSet phldrT="[Text]"/>
      <dgm:spPr/>
      <dgm:t>
        <a:bodyPr/>
        <a:lstStyle/>
        <a:p>
          <a:r>
            <a:rPr lang="en-US" dirty="0"/>
            <a:t>Private Cloud</a:t>
          </a:r>
        </a:p>
      </dgm:t>
    </dgm:pt>
    <dgm:pt modelId="{7EE36E51-292B-4CFA-8488-5944DB5CAC5A}" type="parTrans" cxnId="{E8DCDA3F-3389-446F-BDEF-0A3EFBCAEA75}">
      <dgm:prSet/>
      <dgm:spPr/>
      <dgm:t>
        <a:bodyPr/>
        <a:lstStyle/>
        <a:p>
          <a:endParaRPr lang="en-US"/>
        </a:p>
      </dgm:t>
    </dgm:pt>
    <dgm:pt modelId="{66BDE252-B494-4652-96B9-42CEBFC8721F}" type="sibTrans" cxnId="{E8DCDA3F-3389-446F-BDEF-0A3EFBCAEA75}">
      <dgm:prSet/>
      <dgm:spPr/>
      <dgm:t>
        <a:bodyPr/>
        <a:lstStyle/>
        <a:p>
          <a:endParaRPr lang="en-US"/>
        </a:p>
      </dgm:t>
    </dgm:pt>
    <dgm:pt modelId="{D877F46B-2EAC-42C1-9372-E5782ADDA467}" type="pres">
      <dgm:prSet presAssocID="{654B57A6-08FB-4E60-A40C-1EB0987D8580}" presName="Name0" presStyleCnt="0">
        <dgm:presLayoutVars>
          <dgm:chMax val="11"/>
          <dgm:chPref val="11"/>
          <dgm:dir/>
          <dgm:resizeHandles/>
        </dgm:presLayoutVars>
      </dgm:prSet>
      <dgm:spPr/>
    </dgm:pt>
    <dgm:pt modelId="{95648D57-C42C-4B04-9947-ED1AE9A33D92}" type="pres">
      <dgm:prSet presAssocID="{EE5EEEF4-2034-4085-898C-F652D84F700F}" presName="Accent3" presStyleCnt="0"/>
      <dgm:spPr/>
    </dgm:pt>
    <dgm:pt modelId="{549F9774-3517-4BA1-A083-545F45BFEC31}" type="pres">
      <dgm:prSet presAssocID="{EE5EEEF4-2034-4085-898C-F652D84F700F}" presName="Accent" presStyleLbl="node1" presStyleIdx="0" presStyleCnt="3"/>
      <dgm:spPr/>
    </dgm:pt>
    <dgm:pt modelId="{068512AB-2F06-4C9E-81E4-120950727252}" type="pres">
      <dgm:prSet presAssocID="{EE5EEEF4-2034-4085-898C-F652D84F700F}" presName="ParentBackground3" presStyleCnt="0"/>
      <dgm:spPr/>
    </dgm:pt>
    <dgm:pt modelId="{9DA1F490-1B08-4E20-AF90-5EDB20E02BB8}" type="pres">
      <dgm:prSet presAssocID="{EE5EEEF4-2034-4085-898C-F652D84F700F}" presName="ParentBackground" presStyleLbl="fgAcc1" presStyleIdx="0" presStyleCnt="3"/>
      <dgm:spPr/>
    </dgm:pt>
    <dgm:pt modelId="{0E407F0E-C72B-44D3-962A-86193C35CF56}" type="pres">
      <dgm:prSet presAssocID="{EE5EEEF4-2034-4085-898C-F652D84F700F}" presName="Parent3" presStyleLbl="revTx" presStyleIdx="0" presStyleCnt="0">
        <dgm:presLayoutVars>
          <dgm:chMax val="1"/>
          <dgm:chPref val="1"/>
          <dgm:bulletEnabled val="1"/>
        </dgm:presLayoutVars>
      </dgm:prSet>
      <dgm:spPr/>
    </dgm:pt>
    <dgm:pt modelId="{E8488E00-F789-4AEC-AD84-F662A0BFCCAB}" type="pres">
      <dgm:prSet presAssocID="{3649D542-0E38-4308-B820-F2F560D73EBB}" presName="Accent2" presStyleCnt="0"/>
      <dgm:spPr/>
    </dgm:pt>
    <dgm:pt modelId="{F55E2B42-1505-48F7-9453-EFBD0D97572C}" type="pres">
      <dgm:prSet presAssocID="{3649D542-0E38-4308-B820-F2F560D73EBB}" presName="Accent" presStyleLbl="node1" presStyleIdx="1" presStyleCnt="3"/>
      <dgm:spPr/>
    </dgm:pt>
    <dgm:pt modelId="{2884B18D-E36F-4BC0-82EE-B53A6D9191A0}" type="pres">
      <dgm:prSet presAssocID="{3649D542-0E38-4308-B820-F2F560D73EBB}" presName="ParentBackground2" presStyleCnt="0"/>
      <dgm:spPr/>
    </dgm:pt>
    <dgm:pt modelId="{FEC9BB21-7BA6-4FF1-AB85-C26DF1B3B940}" type="pres">
      <dgm:prSet presAssocID="{3649D542-0E38-4308-B820-F2F560D73EBB}" presName="ParentBackground" presStyleLbl="fgAcc1" presStyleIdx="1" presStyleCnt="3"/>
      <dgm:spPr/>
    </dgm:pt>
    <dgm:pt modelId="{7D5A3DB6-A97C-4183-ACDB-EE9C739F12FE}" type="pres">
      <dgm:prSet presAssocID="{3649D542-0E38-4308-B820-F2F560D73EBB}" presName="Parent2" presStyleLbl="revTx" presStyleIdx="0" presStyleCnt="0">
        <dgm:presLayoutVars>
          <dgm:chMax val="1"/>
          <dgm:chPref val="1"/>
          <dgm:bulletEnabled val="1"/>
        </dgm:presLayoutVars>
      </dgm:prSet>
      <dgm:spPr/>
    </dgm:pt>
    <dgm:pt modelId="{377B3315-5F59-434B-B79C-0EB145C06CA3}" type="pres">
      <dgm:prSet presAssocID="{980132DE-4B57-4615-92BF-0C4DE085A510}" presName="Accent1" presStyleCnt="0"/>
      <dgm:spPr/>
    </dgm:pt>
    <dgm:pt modelId="{EEC2747F-4A51-463B-AAD3-D8788028B2E3}" type="pres">
      <dgm:prSet presAssocID="{980132DE-4B57-4615-92BF-0C4DE085A510}" presName="Accent" presStyleLbl="node1" presStyleIdx="2" presStyleCnt="3"/>
      <dgm:spPr/>
    </dgm:pt>
    <dgm:pt modelId="{6A1F4A29-6CC2-40AE-A34E-74100165A45A}" type="pres">
      <dgm:prSet presAssocID="{980132DE-4B57-4615-92BF-0C4DE085A510}" presName="ParentBackground1" presStyleCnt="0"/>
      <dgm:spPr/>
    </dgm:pt>
    <dgm:pt modelId="{868DC39A-53FF-4981-B6D3-8A31E6FFE505}" type="pres">
      <dgm:prSet presAssocID="{980132DE-4B57-4615-92BF-0C4DE085A510}" presName="ParentBackground" presStyleLbl="fgAcc1" presStyleIdx="2" presStyleCnt="3"/>
      <dgm:spPr/>
    </dgm:pt>
    <dgm:pt modelId="{C12B1AB3-72FD-4D30-A179-2410C61DF970}" type="pres">
      <dgm:prSet presAssocID="{980132DE-4B57-4615-92BF-0C4DE085A510}" presName="Parent1" presStyleLbl="revTx" presStyleIdx="0" presStyleCnt="0">
        <dgm:presLayoutVars>
          <dgm:chMax val="1"/>
          <dgm:chPref val="1"/>
          <dgm:bulletEnabled val="1"/>
        </dgm:presLayoutVars>
      </dgm:prSet>
      <dgm:spPr/>
    </dgm:pt>
  </dgm:ptLst>
  <dgm:cxnLst>
    <dgm:cxn modelId="{29284017-AEFD-43DA-A230-76E0B5CB213C}" type="presOf" srcId="{980132DE-4B57-4615-92BF-0C4DE085A510}" destId="{C12B1AB3-72FD-4D30-A179-2410C61DF970}" srcOrd="1" destOrd="0" presId="urn:microsoft.com/office/officeart/2011/layout/CircleProcess"/>
    <dgm:cxn modelId="{ACD8303E-D216-43CC-8F59-F4B7AD25707B}" type="presOf" srcId="{EE5EEEF4-2034-4085-898C-F652D84F700F}" destId="{9DA1F490-1B08-4E20-AF90-5EDB20E02BB8}" srcOrd="0" destOrd="0" presId="urn:microsoft.com/office/officeart/2011/layout/CircleProcess"/>
    <dgm:cxn modelId="{E8DCDA3F-3389-446F-BDEF-0A3EFBCAEA75}" srcId="{654B57A6-08FB-4E60-A40C-1EB0987D8580}" destId="{EE5EEEF4-2034-4085-898C-F652D84F700F}" srcOrd="2" destOrd="0" parTransId="{7EE36E51-292B-4CFA-8488-5944DB5CAC5A}" sibTransId="{66BDE252-B494-4652-96B9-42CEBFC8721F}"/>
    <dgm:cxn modelId="{D1F91858-64D8-4AD5-A200-A1262F670AF2}" type="presOf" srcId="{3649D542-0E38-4308-B820-F2F560D73EBB}" destId="{7D5A3DB6-A97C-4183-ACDB-EE9C739F12FE}" srcOrd="1" destOrd="0" presId="urn:microsoft.com/office/officeart/2011/layout/CircleProcess"/>
    <dgm:cxn modelId="{C895ED94-8062-47AD-A03E-B7BB912110C1}" type="presOf" srcId="{EE5EEEF4-2034-4085-898C-F652D84F700F}" destId="{0E407F0E-C72B-44D3-962A-86193C35CF56}" srcOrd="1" destOrd="0" presId="urn:microsoft.com/office/officeart/2011/layout/CircleProcess"/>
    <dgm:cxn modelId="{4E9123A2-9AAF-456F-9A53-9E88EA1C0C5F}" type="presOf" srcId="{3649D542-0E38-4308-B820-F2F560D73EBB}" destId="{FEC9BB21-7BA6-4FF1-AB85-C26DF1B3B940}" srcOrd="0" destOrd="0" presId="urn:microsoft.com/office/officeart/2011/layout/CircleProcess"/>
    <dgm:cxn modelId="{8D4735A3-A3D8-428F-93DD-0535E8C776FE}" srcId="{654B57A6-08FB-4E60-A40C-1EB0987D8580}" destId="{3649D542-0E38-4308-B820-F2F560D73EBB}" srcOrd="1" destOrd="0" parTransId="{E840E19B-700F-498A-9E56-6D7C6EC82B8C}" sibTransId="{3ECC062A-3D2D-4D9A-97F5-026AC378B5B8}"/>
    <dgm:cxn modelId="{73650AAA-7B9A-454D-883F-55D23AD4B418}" type="presOf" srcId="{980132DE-4B57-4615-92BF-0C4DE085A510}" destId="{868DC39A-53FF-4981-B6D3-8A31E6FFE505}" srcOrd="0" destOrd="0" presId="urn:microsoft.com/office/officeart/2011/layout/CircleProcess"/>
    <dgm:cxn modelId="{83414CC3-6F85-4A79-91A7-3EEC23A30AA8}" srcId="{654B57A6-08FB-4E60-A40C-1EB0987D8580}" destId="{980132DE-4B57-4615-92BF-0C4DE085A510}" srcOrd="0" destOrd="0" parTransId="{A4F2B9D4-93B8-4220-B38B-E5602E166DE2}" sibTransId="{E5713246-1C41-4069-A09B-57CAB83CC00C}"/>
    <dgm:cxn modelId="{8AE614F0-01F2-4E27-8750-D18A3EB0206E}" type="presOf" srcId="{654B57A6-08FB-4E60-A40C-1EB0987D8580}" destId="{D877F46B-2EAC-42C1-9372-E5782ADDA467}" srcOrd="0" destOrd="0" presId="urn:microsoft.com/office/officeart/2011/layout/CircleProcess"/>
    <dgm:cxn modelId="{85DD22E5-63E3-4869-9FE5-73175685D8A6}" type="presParOf" srcId="{D877F46B-2EAC-42C1-9372-E5782ADDA467}" destId="{95648D57-C42C-4B04-9947-ED1AE9A33D92}" srcOrd="0" destOrd="0" presId="urn:microsoft.com/office/officeart/2011/layout/CircleProcess"/>
    <dgm:cxn modelId="{5FC612A1-FE25-4D9E-BB0B-1B52E47234A4}" type="presParOf" srcId="{95648D57-C42C-4B04-9947-ED1AE9A33D92}" destId="{549F9774-3517-4BA1-A083-545F45BFEC31}" srcOrd="0" destOrd="0" presId="urn:microsoft.com/office/officeart/2011/layout/CircleProcess"/>
    <dgm:cxn modelId="{F6E81AEF-57E3-4158-AC2E-196A87639E6B}" type="presParOf" srcId="{D877F46B-2EAC-42C1-9372-E5782ADDA467}" destId="{068512AB-2F06-4C9E-81E4-120950727252}" srcOrd="1" destOrd="0" presId="urn:microsoft.com/office/officeart/2011/layout/CircleProcess"/>
    <dgm:cxn modelId="{6758F3B7-396B-4AE7-B824-519EC7C07B36}" type="presParOf" srcId="{068512AB-2F06-4C9E-81E4-120950727252}" destId="{9DA1F490-1B08-4E20-AF90-5EDB20E02BB8}" srcOrd="0" destOrd="0" presId="urn:microsoft.com/office/officeart/2011/layout/CircleProcess"/>
    <dgm:cxn modelId="{5447393C-6C65-427F-9EC5-709478ED607E}" type="presParOf" srcId="{D877F46B-2EAC-42C1-9372-E5782ADDA467}" destId="{0E407F0E-C72B-44D3-962A-86193C35CF56}" srcOrd="2" destOrd="0" presId="urn:microsoft.com/office/officeart/2011/layout/CircleProcess"/>
    <dgm:cxn modelId="{17FA2E54-644F-4DCF-84A5-0C637097DA0C}" type="presParOf" srcId="{D877F46B-2EAC-42C1-9372-E5782ADDA467}" destId="{E8488E00-F789-4AEC-AD84-F662A0BFCCAB}" srcOrd="3" destOrd="0" presId="urn:microsoft.com/office/officeart/2011/layout/CircleProcess"/>
    <dgm:cxn modelId="{19D0BF27-96EF-492D-A2E7-629B1A2EB17B}" type="presParOf" srcId="{E8488E00-F789-4AEC-AD84-F662A0BFCCAB}" destId="{F55E2B42-1505-48F7-9453-EFBD0D97572C}" srcOrd="0" destOrd="0" presId="urn:microsoft.com/office/officeart/2011/layout/CircleProcess"/>
    <dgm:cxn modelId="{3C9FAD97-56EF-49F2-9C40-E4F57B8EB05B}" type="presParOf" srcId="{D877F46B-2EAC-42C1-9372-E5782ADDA467}" destId="{2884B18D-E36F-4BC0-82EE-B53A6D9191A0}" srcOrd="4" destOrd="0" presId="urn:microsoft.com/office/officeart/2011/layout/CircleProcess"/>
    <dgm:cxn modelId="{CF6770D3-CBB4-432A-9E44-71989312AC8A}" type="presParOf" srcId="{2884B18D-E36F-4BC0-82EE-B53A6D9191A0}" destId="{FEC9BB21-7BA6-4FF1-AB85-C26DF1B3B940}" srcOrd="0" destOrd="0" presId="urn:microsoft.com/office/officeart/2011/layout/CircleProcess"/>
    <dgm:cxn modelId="{89DAF167-3CCA-4083-87E7-24A59489F8FD}" type="presParOf" srcId="{D877F46B-2EAC-42C1-9372-E5782ADDA467}" destId="{7D5A3DB6-A97C-4183-ACDB-EE9C739F12FE}" srcOrd="5" destOrd="0" presId="urn:microsoft.com/office/officeart/2011/layout/CircleProcess"/>
    <dgm:cxn modelId="{4CF21FFF-DBFA-416B-B4F0-8D1C4F12EC8E}" type="presParOf" srcId="{D877F46B-2EAC-42C1-9372-E5782ADDA467}" destId="{377B3315-5F59-434B-B79C-0EB145C06CA3}" srcOrd="6" destOrd="0" presId="urn:microsoft.com/office/officeart/2011/layout/CircleProcess"/>
    <dgm:cxn modelId="{93A23A1B-F480-45AC-BECE-9C6B28E1B72A}" type="presParOf" srcId="{377B3315-5F59-434B-B79C-0EB145C06CA3}" destId="{EEC2747F-4A51-463B-AAD3-D8788028B2E3}" srcOrd="0" destOrd="0" presId="urn:microsoft.com/office/officeart/2011/layout/CircleProcess"/>
    <dgm:cxn modelId="{1476A63B-5499-4C25-A373-820D7340890F}" type="presParOf" srcId="{D877F46B-2EAC-42C1-9372-E5782ADDA467}" destId="{6A1F4A29-6CC2-40AE-A34E-74100165A45A}" srcOrd="7" destOrd="0" presId="urn:microsoft.com/office/officeart/2011/layout/CircleProcess"/>
    <dgm:cxn modelId="{9C539CC2-B265-45AA-BD5F-B743EA5F4739}" type="presParOf" srcId="{6A1F4A29-6CC2-40AE-A34E-74100165A45A}" destId="{868DC39A-53FF-4981-B6D3-8A31E6FFE505}" srcOrd="0" destOrd="0" presId="urn:microsoft.com/office/officeart/2011/layout/CircleProcess"/>
    <dgm:cxn modelId="{D6F6B746-F883-4860-9C5B-5960204F44FA}" type="presParOf" srcId="{D877F46B-2EAC-42C1-9372-E5782ADDA467}" destId="{C12B1AB3-72FD-4D30-A179-2410C61DF970}" srcOrd="8"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F535B0-3EC7-40EE-84CA-EAB983C14F56}" type="doc">
      <dgm:prSet loTypeId="urn:microsoft.com/office/officeart/2005/8/layout/hList6"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Cost Reduction</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Speed</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Scalability</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D66A9135-5DD2-4139-9194-500C9E579BEE}">
      <dgm:prSet phldrT="[Text]"/>
      <dgm:spPr/>
      <dgm:t>
        <a:bodyPr/>
        <a:lstStyle/>
        <a:p>
          <a:r>
            <a:rPr lang="en-US" dirty="0"/>
            <a:t>Productivity</a:t>
          </a:r>
        </a:p>
      </dgm:t>
    </dgm:pt>
    <dgm:pt modelId="{DA726E0C-CA3D-4F2C-99A2-D868332BB8A6}" type="parTrans" cxnId="{E5B85899-9A64-4E75-98F9-23D14B47DF15}">
      <dgm:prSet/>
      <dgm:spPr/>
      <dgm:t>
        <a:bodyPr/>
        <a:lstStyle/>
        <a:p>
          <a:endParaRPr lang="en-US"/>
        </a:p>
      </dgm:t>
    </dgm:pt>
    <dgm:pt modelId="{967666E5-7431-4390-9B3B-A7ECC3286F8D}" type="sibTrans" cxnId="{E5B85899-9A64-4E75-98F9-23D14B47DF15}">
      <dgm:prSet/>
      <dgm:spPr/>
      <dgm:t>
        <a:bodyPr/>
        <a:lstStyle/>
        <a:p>
          <a:endParaRPr lang="en-US"/>
        </a:p>
      </dgm:t>
    </dgm:pt>
    <dgm:pt modelId="{52D1CAE6-5751-40EB-8443-587EFC44258B}">
      <dgm:prSet phldrT="[Text]"/>
      <dgm:spPr/>
      <dgm:t>
        <a:bodyPr/>
        <a:lstStyle/>
        <a:p>
          <a:r>
            <a:rPr lang="en-US" dirty="0"/>
            <a:t>Reliability</a:t>
          </a:r>
        </a:p>
      </dgm:t>
    </dgm:pt>
    <dgm:pt modelId="{D5073ACA-0C85-4209-9EA5-8984E81C49C9}" type="parTrans" cxnId="{CABBEED1-8B01-4212-9C5F-04D4157F7B62}">
      <dgm:prSet/>
      <dgm:spPr/>
      <dgm:t>
        <a:bodyPr/>
        <a:lstStyle/>
        <a:p>
          <a:endParaRPr lang="en-US"/>
        </a:p>
      </dgm:t>
    </dgm:pt>
    <dgm:pt modelId="{98309352-4E51-41E1-B913-CEE2D9F4A96E}" type="sibTrans" cxnId="{CABBEED1-8B01-4212-9C5F-04D4157F7B62}">
      <dgm:prSet/>
      <dgm:spPr/>
      <dgm:t>
        <a:bodyPr/>
        <a:lstStyle/>
        <a:p>
          <a:endParaRPr lang="en-US"/>
        </a:p>
      </dgm:t>
    </dgm:pt>
    <dgm:pt modelId="{791513C8-C690-4BB1-8C1F-FBFE8D63DB00}" type="pres">
      <dgm:prSet presAssocID="{94F535B0-3EC7-40EE-84CA-EAB983C14F56}" presName="Name0" presStyleCnt="0">
        <dgm:presLayoutVars>
          <dgm:dir/>
          <dgm:resizeHandles val="exact"/>
        </dgm:presLayoutVars>
      </dgm:prSet>
      <dgm:spPr/>
    </dgm:pt>
    <dgm:pt modelId="{74E51E63-C9D2-4F96-B1DB-7066989DC23B}" type="pres">
      <dgm:prSet presAssocID="{A6212DA1-0577-4879-BC48-6FD756139E40}" presName="node" presStyleLbl="node1" presStyleIdx="0" presStyleCnt="5">
        <dgm:presLayoutVars>
          <dgm:bulletEnabled val="1"/>
        </dgm:presLayoutVars>
      </dgm:prSet>
      <dgm:spPr/>
    </dgm:pt>
    <dgm:pt modelId="{C967AF41-A50A-4E55-80CC-8699E8E896AB}" type="pres">
      <dgm:prSet presAssocID="{E8E1801F-A179-4C3B-956E-23AC065A5A35}" presName="sibTrans" presStyleCnt="0"/>
      <dgm:spPr/>
    </dgm:pt>
    <dgm:pt modelId="{CD310C17-F166-4B61-AE49-08BC510F31EE}" type="pres">
      <dgm:prSet presAssocID="{918BD176-E82B-43DD-ACF5-EC4614571D6F}" presName="node" presStyleLbl="node1" presStyleIdx="1" presStyleCnt="5">
        <dgm:presLayoutVars>
          <dgm:bulletEnabled val="1"/>
        </dgm:presLayoutVars>
      </dgm:prSet>
      <dgm:spPr/>
    </dgm:pt>
    <dgm:pt modelId="{4A3E1B64-A7F0-4255-874D-C2705AF8ACEB}" type="pres">
      <dgm:prSet presAssocID="{748C5FBA-908F-45C4-B87B-85EB132D5D1C}" presName="sibTrans" presStyleCnt="0"/>
      <dgm:spPr/>
    </dgm:pt>
    <dgm:pt modelId="{9E3FEE52-7AA9-4A94-84BC-B9A47244D900}" type="pres">
      <dgm:prSet presAssocID="{6F2D8C25-FB94-4C97-AD7A-91AF5DE78104}" presName="node" presStyleLbl="node1" presStyleIdx="2" presStyleCnt="5">
        <dgm:presLayoutVars>
          <dgm:bulletEnabled val="1"/>
        </dgm:presLayoutVars>
      </dgm:prSet>
      <dgm:spPr/>
    </dgm:pt>
    <dgm:pt modelId="{1D348228-4CE6-4BCE-B431-46EA04A6049D}" type="pres">
      <dgm:prSet presAssocID="{89373D55-CDFE-49EF-A102-31E5CE8E5B0E}" presName="sibTrans" presStyleCnt="0"/>
      <dgm:spPr/>
    </dgm:pt>
    <dgm:pt modelId="{0D6ED076-525C-4DF4-B190-BE091C956A56}" type="pres">
      <dgm:prSet presAssocID="{D66A9135-5DD2-4139-9194-500C9E579BEE}" presName="node" presStyleLbl="node1" presStyleIdx="3" presStyleCnt="5">
        <dgm:presLayoutVars>
          <dgm:bulletEnabled val="1"/>
        </dgm:presLayoutVars>
      </dgm:prSet>
      <dgm:spPr/>
    </dgm:pt>
    <dgm:pt modelId="{D03B530C-2BF8-4BC9-A1A5-92F03DB23C3D}" type="pres">
      <dgm:prSet presAssocID="{967666E5-7431-4390-9B3B-A7ECC3286F8D}" presName="sibTrans" presStyleCnt="0"/>
      <dgm:spPr/>
    </dgm:pt>
    <dgm:pt modelId="{9740E40D-A945-4C31-8431-AB3AF7388F1D}" type="pres">
      <dgm:prSet presAssocID="{52D1CAE6-5751-40EB-8443-587EFC44258B}" presName="node" presStyleLbl="node1" presStyleIdx="4" presStyleCnt="5">
        <dgm:presLayoutVars>
          <dgm:bulletEnabled val="1"/>
        </dgm:presLayoutVars>
      </dgm:prSet>
      <dgm:spPr/>
    </dgm:pt>
  </dgm:ptLst>
  <dgm:cxnLst>
    <dgm:cxn modelId="{9FA24B06-EB5F-4209-B498-6917C750CD97}" srcId="{94F535B0-3EC7-40EE-84CA-EAB983C14F56}" destId="{A6212DA1-0577-4879-BC48-6FD756139E40}" srcOrd="0" destOrd="0" parTransId="{9EB2B6EA-ACE8-4DC9-ABC0-8614FCA3DAEA}" sibTransId="{E8E1801F-A179-4C3B-956E-23AC065A5A35}"/>
    <dgm:cxn modelId="{7CDCBB12-4C13-4E9D-AFB8-409C5A2E895C}" type="presOf" srcId="{94F535B0-3EC7-40EE-84CA-EAB983C14F56}" destId="{791513C8-C690-4BB1-8C1F-FBFE8D63DB00}" srcOrd="0" destOrd="0" presId="urn:microsoft.com/office/officeart/2005/8/layout/hList6"/>
    <dgm:cxn modelId="{8C35F334-7F46-4A90-9294-529ADA83E793}" srcId="{94F535B0-3EC7-40EE-84CA-EAB983C14F56}" destId="{6F2D8C25-FB94-4C97-AD7A-91AF5DE78104}" srcOrd="2" destOrd="0" parTransId="{3C5929E6-2113-4814-9F8E-394FD3447C21}" sibTransId="{89373D55-CDFE-49EF-A102-31E5CE8E5B0E}"/>
    <dgm:cxn modelId="{30095267-C403-40C5-9976-38DD48E4CDBD}" type="presOf" srcId="{D66A9135-5DD2-4139-9194-500C9E579BEE}" destId="{0D6ED076-525C-4DF4-B190-BE091C956A56}" srcOrd="0" destOrd="0" presId="urn:microsoft.com/office/officeart/2005/8/layout/hList6"/>
    <dgm:cxn modelId="{9D1E6C6C-A59E-49CE-A6AF-F3FDD0555026}" type="presOf" srcId="{918BD176-E82B-43DD-ACF5-EC4614571D6F}" destId="{CD310C17-F166-4B61-AE49-08BC510F31EE}" srcOrd="0" destOrd="0" presId="urn:microsoft.com/office/officeart/2005/8/layout/hList6"/>
    <dgm:cxn modelId="{CBDBCB75-1738-4831-A815-102EF3A74B6B}" srcId="{94F535B0-3EC7-40EE-84CA-EAB983C14F56}" destId="{918BD176-E82B-43DD-ACF5-EC4614571D6F}" srcOrd="1" destOrd="0" parTransId="{A601F90A-5D46-4027-8BB9-DEA46DB30144}" sibTransId="{748C5FBA-908F-45C4-B87B-85EB132D5D1C}"/>
    <dgm:cxn modelId="{E5B85899-9A64-4E75-98F9-23D14B47DF15}" srcId="{94F535B0-3EC7-40EE-84CA-EAB983C14F56}" destId="{D66A9135-5DD2-4139-9194-500C9E579BEE}" srcOrd="3" destOrd="0" parTransId="{DA726E0C-CA3D-4F2C-99A2-D868332BB8A6}" sibTransId="{967666E5-7431-4390-9B3B-A7ECC3286F8D}"/>
    <dgm:cxn modelId="{A94755B3-D708-41AD-A56E-583E6C4159ED}" type="presOf" srcId="{6F2D8C25-FB94-4C97-AD7A-91AF5DE78104}" destId="{9E3FEE52-7AA9-4A94-84BC-B9A47244D900}" srcOrd="0" destOrd="0" presId="urn:microsoft.com/office/officeart/2005/8/layout/hList6"/>
    <dgm:cxn modelId="{72A529BC-3214-4E45-86BB-A30896ED99D5}" type="presOf" srcId="{52D1CAE6-5751-40EB-8443-587EFC44258B}" destId="{9740E40D-A945-4C31-8431-AB3AF7388F1D}" srcOrd="0" destOrd="0" presId="urn:microsoft.com/office/officeart/2005/8/layout/hList6"/>
    <dgm:cxn modelId="{CABBEED1-8B01-4212-9C5F-04D4157F7B62}" srcId="{94F535B0-3EC7-40EE-84CA-EAB983C14F56}" destId="{52D1CAE6-5751-40EB-8443-587EFC44258B}" srcOrd="4" destOrd="0" parTransId="{D5073ACA-0C85-4209-9EA5-8984E81C49C9}" sibTransId="{98309352-4E51-41E1-B913-CEE2D9F4A96E}"/>
    <dgm:cxn modelId="{2FC722FA-6C27-427B-BEFF-11787C85D2DB}" type="presOf" srcId="{A6212DA1-0577-4879-BC48-6FD756139E40}" destId="{74E51E63-C9D2-4F96-B1DB-7066989DC23B}" srcOrd="0" destOrd="0" presId="urn:microsoft.com/office/officeart/2005/8/layout/hList6"/>
    <dgm:cxn modelId="{1DEDDE60-0891-4A24-8D0D-DAAD4EDB948B}" type="presParOf" srcId="{791513C8-C690-4BB1-8C1F-FBFE8D63DB00}" destId="{74E51E63-C9D2-4F96-B1DB-7066989DC23B}" srcOrd="0" destOrd="0" presId="urn:microsoft.com/office/officeart/2005/8/layout/hList6"/>
    <dgm:cxn modelId="{8FB2B0EA-E38C-423C-85E1-783F09D8D960}" type="presParOf" srcId="{791513C8-C690-4BB1-8C1F-FBFE8D63DB00}" destId="{C967AF41-A50A-4E55-80CC-8699E8E896AB}" srcOrd="1" destOrd="0" presId="urn:microsoft.com/office/officeart/2005/8/layout/hList6"/>
    <dgm:cxn modelId="{66FC363E-17EF-4B44-ADFD-6987C8598A64}" type="presParOf" srcId="{791513C8-C690-4BB1-8C1F-FBFE8D63DB00}" destId="{CD310C17-F166-4B61-AE49-08BC510F31EE}" srcOrd="2" destOrd="0" presId="urn:microsoft.com/office/officeart/2005/8/layout/hList6"/>
    <dgm:cxn modelId="{F8C3EC7F-6148-469D-8EEC-E2730B9A0D9C}" type="presParOf" srcId="{791513C8-C690-4BB1-8C1F-FBFE8D63DB00}" destId="{4A3E1B64-A7F0-4255-874D-C2705AF8ACEB}" srcOrd="3" destOrd="0" presId="urn:microsoft.com/office/officeart/2005/8/layout/hList6"/>
    <dgm:cxn modelId="{843E9BB8-FDF3-4D9B-8297-0C43BA77D465}" type="presParOf" srcId="{791513C8-C690-4BB1-8C1F-FBFE8D63DB00}" destId="{9E3FEE52-7AA9-4A94-84BC-B9A47244D900}" srcOrd="4" destOrd="0" presId="urn:microsoft.com/office/officeart/2005/8/layout/hList6"/>
    <dgm:cxn modelId="{B4CF587A-A96F-49EA-922A-1210D16C1DD5}" type="presParOf" srcId="{791513C8-C690-4BB1-8C1F-FBFE8D63DB00}" destId="{1D348228-4CE6-4BCE-B431-46EA04A6049D}" srcOrd="5" destOrd="0" presId="urn:microsoft.com/office/officeart/2005/8/layout/hList6"/>
    <dgm:cxn modelId="{09024CD7-9B93-409E-8AEA-15C2F1C33B81}" type="presParOf" srcId="{791513C8-C690-4BB1-8C1F-FBFE8D63DB00}" destId="{0D6ED076-525C-4DF4-B190-BE091C956A56}" srcOrd="6" destOrd="0" presId="urn:microsoft.com/office/officeart/2005/8/layout/hList6"/>
    <dgm:cxn modelId="{0EB72D80-25C1-499B-88F0-6EC5133E8CD8}" type="presParOf" srcId="{791513C8-C690-4BB1-8C1F-FBFE8D63DB00}" destId="{D03B530C-2BF8-4BC9-A1A5-92F03DB23C3D}" srcOrd="7" destOrd="0" presId="urn:microsoft.com/office/officeart/2005/8/layout/hList6"/>
    <dgm:cxn modelId="{6B038FD4-5E3A-4C3A-A2C7-6C2DBB72E28F}" type="presParOf" srcId="{791513C8-C690-4BB1-8C1F-FBFE8D63DB00}" destId="{9740E40D-A945-4C31-8431-AB3AF7388F1D}" srcOrd="8"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F535B0-3EC7-40EE-84CA-EAB983C14F56}" type="doc">
      <dgm:prSet loTypeId="urn:microsoft.com/office/officeart/2005/8/layout/pyramid2"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Faster deployment</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Usage based pricing </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Less financial risk</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D66A9135-5DD2-4139-9194-500C9E579BEE}">
      <dgm:prSet phldrT="[Text]"/>
      <dgm:spPr/>
      <dgm:t>
        <a:bodyPr/>
        <a:lstStyle/>
        <a:p>
          <a:r>
            <a:rPr lang="en-US"/>
            <a:t>Easier upgrade</a:t>
          </a:r>
          <a:endParaRPr lang="en-US" dirty="0"/>
        </a:p>
      </dgm:t>
    </dgm:pt>
    <dgm:pt modelId="{DA726E0C-CA3D-4F2C-99A2-D868332BB8A6}" type="parTrans" cxnId="{E5B85899-9A64-4E75-98F9-23D14B47DF15}">
      <dgm:prSet/>
      <dgm:spPr/>
      <dgm:t>
        <a:bodyPr/>
        <a:lstStyle/>
        <a:p>
          <a:endParaRPr lang="en-US"/>
        </a:p>
      </dgm:t>
    </dgm:pt>
    <dgm:pt modelId="{967666E5-7431-4390-9B3B-A7ECC3286F8D}" type="sibTrans" cxnId="{E5B85899-9A64-4E75-98F9-23D14B47DF15}">
      <dgm:prSet/>
      <dgm:spPr/>
      <dgm:t>
        <a:bodyPr/>
        <a:lstStyle/>
        <a:p>
          <a:endParaRPr lang="en-US"/>
        </a:p>
      </dgm:t>
    </dgm:pt>
    <dgm:pt modelId="{16811B48-62B4-46D8-8E3E-644AB57B3701}" type="pres">
      <dgm:prSet presAssocID="{94F535B0-3EC7-40EE-84CA-EAB983C14F56}" presName="compositeShape" presStyleCnt="0">
        <dgm:presLayoutVars>
          <dgm:dir/>
          <dgm:resizeHandles/>
        </dgm:presLayoutVars>
      </dgm:prSet>
      <dgm:spPr/>
    </dgm:pt>
    <dgm:pt modelId="{8DAE61F1-15F0-4048-B742-03783D29452E}" type="pres">
      <dgm:prSet presAssocID="{94F535B0-3EC7-40EE-84CA-EAB983C14F56}" presName="pyramid" presStyleLbl="node1" presStyleIdx="0" presStyleCnt="1"/>
      <dgm:spPr/>
    </dgm:pt>
    <dgm:pt modelId="{4C1031C0-9091-43B7-86E5-3B6865F30A68}" type="pres">
      <dgm:prSet presAssocID="{94F535B0-3EC7-40EE-84CA-EAB983C14F56}" presName="theList" presStyleCnt="0"/>
      <dgm:spPr/>
    </dgm:pt>
    <dgm:pt modelId="{0CFF2152-C5EE-466C-BEA0-3357B0A07E9E}" type="pres">
      <dgm:prSet presAssocID="{A6212DA1-0577-4879-BC48-6FD756139E40}" presName="aNode" presStyleLbl="fgAcc1" presStyleIdx="0" presStyleCnt="4">
        <dgm:presLayoutVars>
          <dgm:bulletEnabled val="1"/>
        </dgm:presLayoutVars>
      </dgm:prSet>
      <dgm:spPr/>
    </dgm:pt>
    <dgm:pt modelId="{2BADE0E0-152A-463E-A8C5-21B25CEEE927}" type="pres">
      <dgm:prSet presAssocID="{A6212DA1-0577-4879-BC48-6FD756139E40}" presName="aSpace" presStyleCnt="0"/>
      <dgm:spPr/>
    </dgm:pt>
    <dgm:pt modelId="{B2BB4303-D35C-478F-947C-FAFC2D7FB6D4}" type="pres">
      <dgm:prSet presAssocID="{918BD176-E82B-43DD-ACF5-EC4614571D6F}" presName="aNode" presStyleLbl="fgAcc1" presStyleIdx="1" presStyleCnt="4">
        <dgm:presLayoutVars>
          <dgm:bulletEnabled val="1"/>
        </dgm:presLayoutVars>
      </dgm:prSet>
      <dgm:spPr/>
    </dgm:pt>
    <dgm:pt modelId="{35232A19-571E-47C8-A966-56E8FD8A59D0}" type="pres">
      <dgm:prSet presAssocID="{918BD176-E82B-43DD-ACF5-EC4614571D6F}" presName="aSpace" presStyleCnt="0"/>
      <dgm:spPr/>
    </dgm:pt>
    <dgm:pt modelId="{AF7842D3-0208-4210-9F95-674EECFC8749}" type="pres">
      <dgm:prSet presAssocID="{6F2D8C25-FB94-4C97-AD7A-91AF5DE78104}" presName="aNode" presStyleLbl="fgAcc1" presStyleIdx="2" presStyleCnt="4">
        <dgm:presLayoutVars>
          <dgm:bulletEnabled val="1"/>
        </dgm:presLayoutVars>
      </dgm:prSet>
      <dgm:spPr/>
    </dgm:pt>
    <dgm:pt modelId="{1B43BFEF-ED11-4504-8124-E925E377084C}" type="pres">
      <dgm:prSet presAssocID="{6F2D8C25-FB94-4C97-AD7A-91AF5DE78104}" presName="aSpace" presStyleCnt="0"/>
      <dgm:spPr/>
    </dgm:pt>
    <dgm:pt modelId="{6E85C188-87F1-4F2A-9D81-891EC25703F8}" type="pres">
      <dgm:prSet presAssocID="{D66A9135-5DD2-4139-9194-500C9E579BEE}" presName="aNode" presStyleLbl="fgAcc1" presStyleIdx="3" presStyleCnt="4">
        <dgm:presLayoutVars>
          <dgm:bulletEnabled val="1"/>
        </dgm:presLayoutVars>
      </dgm:prSet>
      <dgm:spPr/>
    </dgm:pt>
    <dgm:pt modelId="{AD864EB8-733C-4076-924B-4F8B7E14BE83}" type="pres">
      <dgm:prSet presAssocID="{D66A9135-5DD2-4139-9194-500C9E579BEE}" presName="aSpace" presStyleCnt="0"/>
      <dgm:spPr/>
    </dgm:pt>
  </dgm:ptLst>
  <dgm:cxnLst>
    <dgm:cxn modelId="{9FA24B06-EB5F-4209-B498-6917C750CD97}" srcId="{94F535B0-3EC7-40EE-84CA-EAB983C14F56}" destId="{A6212DA1-0577-4879-BC48-6FD756139E40}" srcOrd="0" destOrd="0" parTransId="{9EB2B6EA-ACE8-4DC9-ABC0-8614FCA3DAEA}" sibTransId="{E8E1801F-A179-4C3B-956E-23AC065A5A35}"/>
    <dgm:cxn modelId="{EF29D61F-D235-4CEA-8A87-2641346F1279}" type="presOf" srcId="{D66A9135-5DD2-4139-9194-500C9E579BEE}" destId="{6E85C188-87F1-4F2A-9D81-891EC25703F8}" srcOrd="0" destOrd="0" presId="urn:microsoft.com/office/officeart/2005/8/layout/pyramid2"/>
    <dgm:cxn modelId="{8C35F334-7F46-4A90-9294-529ADA83E793}" srcId="{94F535B0-3EC7-40EE-84CA-EAB983C14F56}" destId="{6F2D8C25-FB94-4C97-AD7A-91AF5DE78104}" srcOrd="2" destOrd="0" parTransId="{3C5929E6-2113-4814-9F8E-394FD3447C21}" sibTransId="{89373D55-CDFE-49EF-A102-31E5CE8E5B0E}"/>
    <dgm:cxn modelId="{528DFD38-3E5A-4AAC-8EE5-91810ECFEC01}" type="presOf" srcId="{6F2D8C25-FB94-4C97-AD7A-91AF5DE78104}" destId="{AF7842D3-0208-4210-9F95-674EECFC8749}" srcOrd="0" destOrd="0" presId="urn:microsoft.com/office/officeart/2005/8/layout/pyramid2"/>
    <dgm:cxn modelId="{BD8E153F-29D1-4C06-BCC6-282D996A6DF2}" type="presOf" srcId="{A6212DA1-0577-4879-BC48-6FD756139E40}" destId="{0CFF2152-C5EE-466C-BEA0-3357B0A07E9E}" srcOrd="0" destOrd="0" presId="urn:microsoft.com/office/officeart/2005/8/layout/pyramid2"/>
    <dgm:cxn modelId="{CBDBCB75-1738-4831-A815-102EF3A74B6B}" srcId="{94F535B0-3EC7-40EE-84CA-EAB983C14F56}" destId="{918BD176-E82B-43DD-ACF5-EC4614571D6F}" srcOrd="1" destOrd="0" parTransId="{A601F90A-5D46-4027-8BB9-DEA46DB30144}" sibTransId="{748C5FBA-908F-45C4-B87B-85EB132D5D1C}"/>
    <dgm:cxn modelId="{E5B85899-9A64-4E75-98F9-23D14B47DF15}" srcId="{94F535B0-3EC7-40EE-84CA-EAB983C14F56}" destId="{D66A9135-5DD2-4139-9194-500C9E579BEE}" srcOrd="3" destOrd="0" parTransId="{DA726E0C-CA3D-4F2C-99A2-D868332BB8A6}" sibTransId="{967666E5-7431-4390-9B3B-A7ECC3286F8D}"/>
    <dgm:cxn modelId="{B3DE23C7-0016-4851-BA4C-7DC2CB1DAA4C}" type="presOf" srcId="{918BD176-E82B-43DD-ACF5-EC4614571D6F}" destId="{B2BB4303-D35C-478F-947C-FAFC2D7FB6D4}" srcOrd="0" destOrd="0" presId="urn:microsoft.com/office/officeart/2005/8/layout/pyramid2"/>
    <dgm:cxn modelId="{765D50FB-E164-4D4B-B1FF-30E674C6E805}" type="presOf" srcId="{94F535B0-3EC7-40EE-84CA-EAB983C14F56}" destId="{16811B48-62B4-46D8-8E3E-644AB57B3701}" srcOrd="0" destOrd="0" presId="urn:microsoft.com/office/officeart/2005/8/layout/pyramid2"/>
    <dgm:cxn modelId="{5B4918A3-A7C4-423B-9D33-52A40AB5032F}" type="presParOf" srcId="{16811B48-62B4-46D8-8E3E-644AB57B3701}" destId="{8DAE61F1-15F0-4048-B742-03783D29452E}" srcOrd="0" destOrd="0" presId="urn:microsoft.com/office/officeart/2005/8/layout/pyramid2"/>
    <dgm:cxn modelId="{853E826A-C987-4A6A-9449-1B3F96AD481D}" type="presParOf" srcId="{16811B48-62B4-46D8-8E3E-644AB57B3701}" destId="{4C1031C0-9091-43B7-86E5-3B6865F30A68}" srcOrd="1" destOrd="0" presId="urn:microsoft.com/office/officeart/2005/8/layout/pyramid2"/>
    <dgm:cxn modelId="{CD8296BA-3A55-41CF-B1E6-C5FCC172861B}" type="presParOf" srcId="{4C1031C0-9091-43B7-86E5-3B6865F30A68}" destId="{0CFF2152-C5EE-466C-BEA0-3357B0A07E9E}" srcOrd="0" destOrd="0" presId="urn:microsoft.com/office/officeart/2005/8/layout/pyramid2"/>
    <dgm:cxn modelId="{86272B00-5C0B-4297-8868-E329695DF861}" type="presParOf" srcId="{4C1031C0-9091-43B7-86E5-3B6865F30A68}" destId="{2BADE0E0-152A-463E-A8C5-21B25CEEE927}" srcOrd="1" destOrd="0" presId="urn:microsoft.com/office/officeart/2005/8/layout/pyramid2"/>
    <dgm:cxn modelId="{6B07C0F1-AB73-4A7E-AA12-BBBBAC28E0A4}" type="presParOf" srcId="{4C1031C0-9091-43B7-86E5-3B6865F30A68}" destId="{B2BB4303-D35C-478F-947C-FAFC2D7FB6D4}" srcOrd="2" destOrd="0" presId="urn:microsoft.com/office/officeart/2005/8/layout/pyramid2"/>
    <dgm:cxn modelId="{45830025-3B47-4A7A-8EE8-08A2A7AC0F7F}" type="presParOf" srcId="{4C1031C0-9091-43B7-86E5-3B6865F30A68}" destId="{35232A19-571E-47C8-A966-56E8FD8A59D0}" srcOrd="3" destOrd="0" presId="urn:microsoft.com/office/officeart/2005/8/layout/pyramid2"/>
    <dgm:cxn modelId="{DFC22AA4-FE55-442A-A2F3-1016C1616622}" type="presParOf" srcId="{4C1031C0-9091-43B7-86E5-3B6865F30A68}" destId="{AF7842D3-0208-4210-9F95-674EECFC8749}" srcOrd="4" destOrd="0" presId="urn:microsoft.com/office/officeart/2005/8/layout/pyramid2"/>
    <dgm:cxn modelId="{7CB2D529-85A4-498F-B627-61CFD826E658}" type="presParOf" srcId="{4C1031C0-9091-43B7-86E5-3B6865F30A68}" destId="{1B43BFEF-ED11-4504-8124-E925E377084C}" srcOrd="5" destOrd="0" presId="urn:microsoft.com/office/officeart/2005/8/layout/pyramid2"/>
    <dgm:cxn modelId="{7FA365BC-36C7-400C-9D00-B84CB81547C2}" type="presParOf" srcId="{4C1031C0-9091-43B7-86E5-3B6865F30A68}" destId="{6E85C188-87F1-4F2A-9D81-891EC25703F8}" srcOrd="6" destOrd="0" presId="urn:microsoft.com/office/officeart/2005/8/layout/pyramid2"/>
    <dgm:cxn modelId="{D85630FA-27B8-4062-99D9-EE68325703F4}" type="presParOf" srcId="{4C1031C0-9091-43B7-86E5-3B6865F30A68}" destId="{AD864EB8-733C-4076-924B-4F8B7E14BE83}"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F535B0-3EC7-40EE-84CA-EAB983C14F56}" type="doc">
      <dgm:prSet loTypeId="urn:microsoft.com/office/officeart/2008/layout/VerticalAccentList"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Requires trusted SaaS Provider </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Legal concerns</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Limited App customization</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D66A9135-5DD2-4139-9194-500C9E579BEE}">
      <dgm:prSet phldrT="[Text]"/>
      <dgm:spPr/>
      <dgm:t>
        <a:bodyPr/>
        <a:lstStyle/>
        <a:p>
          <a:r>
            <a:rPr lang="en-US" dirty="0"/>
            <a:t>Integration issues with on-premises applications</a:t>
          </a:r>
        </a:p>
      </dgm:t>
    </dgm:pt>
    <dgm:pt modelId="{DA726E0C-CA3D-4F2C-99A2-D868332BB8A6}" type="parTrans" cxnId="{E5B85899-9A64-4E75-98F9-23D14B47DF15}">
      <dgm:prSet/>
      <dgm:spPr/>
      <dgm:t>
        <a:bodyPr/>
        <a:lstStyle/>
        <a:p>
          <a:endParaRPr lang="en-US"/>
        </a:p>
      </dgm:t>
    </dgm:pt>
    <dgm:pt modelId="{967666E5-7431-4390-9B3B-A7ECC3286F8D}" type="sibTrans" cxnId="{E5B85899-9A64-4E75-98F9-23D14B47DF15}">
      <dgm:prSet/>
      <dgm:spPr/>
      <dgm:t>
        <a:bodyPr/>
        <a:lstStyle/>
        <a:p>
          <a:endParaRPr lang="en-US"/>
        </a:p>
      </dgm:t>
    </dgm:pt>
    <dgm:pt modelId="{585A80A8-9F7B-4DF1-B25C-FAD13B980EDD}">
      <dgm:prSet phldrT="[Text]"/>
      <dgm:spPr/>
      <dgm:t>
        <a:bodyPr/>
        <a:lstStyle/>
        <a:p>
          <a:r>
            <a:rPr lang="en-US" dirty="0"/>
            <a:t>Requires good internet connectivity </a:t>
          </a:r>
        </a:p>
      </dgm:t>
    </dgm:pt>
    <dgm:pt modelId="{0D568057-83E5-4829-A913-FF3A8F9D58D5}" type="parTrans" cxnId="{50CC60C1-2F58-4E5A-BA7F-F4C044BFCD50}">
      <dgm:prSet/>
      <dgm:spPr/>
      <dgm:t>
        <a:bodyPr/>
        <a:lstStyle/>
        <a:p>
          <a:endParaRPr lang="en-US"/>
        </a:p>
      </dgm:t>
    </dgm:pt>
    <dgm:pt modelId="{3104DFCE-6996-45E1-A7D8-940ECA8B5E8E}" type="sibTrans" cxnId="{50CC60C1-2F58-4E5A-BA7F-F4C044BFCD50}">
      <dgm:prSet/>
      <dgm:spPr/>
      <dgm:t>
        <a:bodyPr/>
        <a:lstStyle/>
        <a:p>
          <a:endParaRPr lang="en-US"/>
        </a:p>
      </dgm:t>
    </dgm:pt>
    <dgm:pt modelId="{570DF381-3875-444E-A01F-82EB97F08A78}" type="pres">
      <dgm:prSet presAssocID="{94F535B0-3EC7-40EE-84CA-EAB983C14F56}" presName="Name0" presStyleCnt="0">
        <dgm:presLayoutVars>
          <dgm:chMax/>
          <dgm:chPref/>
          <dgm:dir/>
        </dgm:presLayoutVars>
      </dgm:prSet>
      <dgm:spPr/>
    </dgm:pt>
    <dgm:pt modelId="{E7502D47-121A-4A50-BF0E-02EFE6FE4A74}" type="pres">
      <dgm:prSet presAssocID="{A6212DA1-0577-4879-BC48-6FD756139E40}" presName="parenttextcomposite" presStyleCnt="0"/>
      <dgm:spPr/>
    </dgm:pt>
    <dgm:pt modelId="{4D68F560-4B97-487B-84DB-96A8ADD769B2}" type="pres">
      <dgm:prSet presAssocID="{A6212DA1-0577-4879-BC48-6FD756139E40}" presName="parenttext" presStyleLbl="revTx" presStyleIdx="0" presStyleCnt="5">
        <dgm:presLayoutVars>
          <dgm:chMax/>
          <dgm:chPref val="2"/>
          <dgm:bulletEnabled val="1"/>
        </dgm:presLayoutVars>
      </dgm:prSet>
      <dgm:spPr/>
    </dgm:pt>
    <dgm:pt modelId="{695D45CE-8094-441B-9D6E-CD508E9E7801}" type="pres">
      <dgm:prSet presAssocID="{A6212DA1-0577-4879-BC48-6FD756139E40}" presName="parallelogramComposite" presStyleCnt="0"/>
      <dgm:spPr/>
    </dgm:pt>
    <dgm:pt modelId="{9A1CD9D9-750B-4F4F-9B04-CD9EAF98A833}" type="pres">
      <dgm:prSet presAssocID="{A6212DA1-0577-4879-BC48-6FD756139E40}" presName="parallelogram1" presStyleLbl="alignNode1" presStyleIdx="0" presStyleCnt="35"/>
      <dgm:spPr/>
    </dgm:pt>
    <dgm:pt modelId="{1408E809-F190-4574-8566-E644C1A8F160}" type="pres">
      <dgm:prSet presAssocID="{A6212DA1-0577-4879-BC48-6FD756139E40}" presName="parallelogram2" presStyleLbl="alignNode1" presStyleIdx="1" presStyleCnt="35"/>
      <dgm:spPr/>
    </dgm:pt>
    <dgm:pt modelId="{4C50135F-336F-42EC-95EB-0229BA4B822C}" type="pres">
      <dgm:prSet presAssocID="{A6212DA1-0577-4879-BC48-6FD756139E40}" presName="parallelogram3" presStyleLbl="alignNode1" presStyleIdx="2" presStyleCnt="35"/>
      <dgm:spPr/>
    </dgm:pt>
    <dgm:pt modelId="{F06D3DA6-41C7-4E3F-9668-B8035C9E7479}" type="pres">
      <dgm:prSet presAssocID="{A6212DA1-0577-4879-BC48-6FD756139E40}" presName="parallelogram4" presStyleLbl="alignNode1" presStyleIdx="3" presStyleCnt="35"/>
      <dgm:spPr/>
    </dgm:pt>
    <dgm:pt modelId="{39A4DC12-7B25-4686-A334-054B9AA8D154}" type="pres">
      <dgm:prSet presAssocID="{A6212DA1-0577-4879-BC48-6FD756139E40}" presName="parallelogram5" presStyleLbl="alignNode1" presStyleIdx="4" presStyleCnt="35"/>
      <dgm:spPr/>
    </dgm:pt>
    <dgm:pt modelId="{FA455300-7285-429D-A54A-673C05B710CC}" type="pres">
      <dgm:prSet presAssocID="{A6212DA1-0577-4879-BC48-6FD756139E40}" presName="parallelogram6" presStyleLbl="alignNode1" presStyleIdx="5" presStyleCnt="35"/>
      <dgm:spPr/>
    </dgm:pt>
    <dgm:pt modelId="{AA9F137B-52FA-4702-AC12-BA375C60538C}" type="pres">
      <dgm:prSet presAssocID="{A6212DA1-0577-4879-BC48-6FD756139E40}" presName="parallelogram7" presStyleLbl="alignNode1" presStyleIdx="6" presStyleCnt="35"/>
      <dgm:spPr/>
    </dgm:pt>
    <dgm:pt modelId="{6784E3B8-2789-4AA9-843C-2AFA193190B3}" type="pres">
      <dgm:prSet presAssocID="{E8E1801F-A179-4C3B-956E-23AC065A5A35}" presName="sibTrans" presStyleCnt="0"/>
      <dgm:spPr/>
    </dgm:pt>
    <dgm:pt modelId="{084DF776-3CF8-4A35-B5C0-2A3CD1911756}" type="pres">
      <dgm:prSet presAssocID="{918BD176-E82B-43DD-ACF5-EC4614571D6F}" presName="parenttextcomposite" presStyleCnt="0"/>
      <dgm:spPr/>
    </dgm:pt>
    <dgm:pt modelId="{ABB437BC-8901-48FC-9076-105F2B43510E}" type="pres">
      <dgm:prSet presAssocID="{918BD176-E82B-43DD-ACF5-EC4614571D6F}" presName="parenttext" presStyleLbl="revTx" presStyleIdx="1" presStyleCnt="5">
        <dgm:presLayoutVars>
          <dgm:chMax/>
          <dgm:chPref val="2"/>
          <dgm:bulletEnabled val="1"/>
        </dgm:presLayoutVars>
      </dgm:prSet>
      <dgm:spPr/>
    </dgm:pt>
    <dgm:pt modelId="{F52D9201-AF18-4D42-8660-837E89B07C71}" type="pres">
      <dgm:prSet presAssocID="{918BD176-E82B-43DD-ACF5-EC4614571D6F}" presName="parallelogramComposite" presStyleCnt="0"/>
      <dgm:spPr/>
    </dgm:pt>
    <dgm:pt modelId="{90FC1EC3-DEE6-4556-B4C8-B049B599FB42}" type="pres">
      <dgm:prSet presAssocID="{918BD176-E82B-43DD-ACF5-EC4614571D6F}" presName="parallelogram1" presStyleLbl="alignNode1" presStyleIdx="7" presStyleCnt="35"/>
      <dgm:spPr/>
    </dgm:pt>
    <dgm:pt modelId="{EB16AFA5-7CB1-4DB6-8F76-ADD862C3F086}" type="pres">
      <dgm:prSet presAssocID="{918BD176-E82B-43DD-ACF5-EC4614571D6F}" presName="parallelogram2" presStyleLbl="alignNode1" presStyleIdx="8" presStyleCnt="35"/>
      <dgm:spPr/>
    </dgm:pt>
    <dgm:pt modelId="{A2F25226-7237-4D8E-92BF-8D68ABC6FFB8}" type="pres">
      <dgm:prSet presAssocID="{918BD176-E82B-43DD-ACF5-EC4614571D6F}" presName="parallelogram3" presStyleLbl="alignNode1" presStyleIdx="9" presStyleCnt="35"/>
      <dgm:spPr/>
    </dgm:pt>
    <dgm:pt modelId="{19547312-D9F8-4350-86A1-1C040B38C29C}" type="pres">
      <dgm:prSet presAssocID="{918BD176-E82B-43DD-ACF5-EC4614571D6F}" presName="parallelogram4" presStyleLbl="alignNode1" presStyleIdx="10" presStyleCnt="35"/>
      <dgm:spPr/>
    </dgm:pt>
    <dgm:pt modelId="{90F9D93B-368C-47DA-ABF0-E96E4D35BCB1}" type="pres">
      <dgm:prSet presAssocID="{918BD176-E82B-43DD-ACF5-EC4614571D6F}" presName="parallelogram5" presStyleLbl="alignNode1" presStyleIdx="11" presStyleCnt="35"/>
      <dgm:spPr/>
    </dgm:pt>
    <dgm:pt modelId="{AF8D96B1-434D-4797-9310-486419B3E7A0}" type="pres">
      <dgm:prSet presAssocID="{918BD176-E82B-43DD-ACF5-EC4614571D6F}" presName="parallelogram6" presStyleLbl="alignNode1" presStyleIdx="12" presStyleCnt="35"/>
      <dgm:spPr/>
    </dgm:pt>
    <dgm:pt modelId="{7CA3BC49-B45C-4005-879C-11604E3F08BF}" type="pres">
      <dgm:prSet presAssocID="{918BD176-E82B-43DD-ACF5-EC4614571D6F}" presName="parallelogram7" presStyleLbl="alignNode1" presStyleIdx="13" presStyleCnt="35"/>
      <dgm:spPr/>
    </dgm:pt>
    <dgm:pt modelId="{95BCE89F-9CDA-4157-ABE5-FA3BE566E608}" type="pres">
      <dgm:prSet presAssocID="{748C5FBA-908F-45C4-B87B-85EB132D5D1C}" presName="sibTrans" presStyleCnt="0"/>
      <dgm:spPr/>
    </dgm:pt>
    <dgm:pt modelId="{8A80CACB-05B1-44D6-972F-3F4C5944E9D6}" type="pres">
      <dgm:prSet presAssocID="{6F2D8C25-FB94-4C97-AD7A-91AF5DE78104}" presName="parenttextcomposite" presStyleCnt="0"/>
      <dgm:spPr/>
    </dgm:pt>
    <dgm:pt modelId="{E2A8C97A-4062-4C56-BF39-658B22A4C2B3}" type="pres">
      <dgm:prSet presAssocID="{6F2D8C25-FB94-4C97-AD7A-91AF5DE78104}" presName="parenttext" presStyleLbl="revTx" presStyleIdx="2" presStyleCnt="5">
        <dgm:presLayoutVars>
          <dgm:chMax/>
          <dgm:chPref val="2"/>
          <dgm:bulletEnabled val="1"/>
        </dgm:presLayoutVars>
      </dgm:prSet>
      <dgm:spPr/>
    </dgm:pt>
    <dgm:pt modelId="{6210C2B8-D9D0-4448-9A56-C492DC64C9AA}" type="pres">
      <dgm:prSet presAssocID="{6F2D8C25-FB94-4C97-AD7A-91AF5DE78104}" presName="parallelogramComposite" presStyleCnt="0"/>
      <dgm:spPr/>
    </dgm:pt>
    <dgm:pt modelId="{4AF8C838-FAB6-4065-8B3D-4A3C67CDDE37}" type="pres">
      <dgm:prSet presAssocID="{6F2D8C25-FB94-4C97-AD7A-91AF5DE78104}" presName="parallelogram1" presStyleLbl="alignNode1" presStyleIdx="14" presStyleCnt="35"/>
      <dgm:spPr/>
    </dgm:pt>
    <dgm:pt modelId="{D3ECA08C-8262-4479-A631-1B237251643F}" type="pres">
      <dgm:prSet presAssocID="{6F2D8C25-FB94-4C97-AD7A-91AF5DE78104}" presName="parallelogram2" presStyleLbl="alignNode1" presStyleIdx="15" presStyleCnt="35"/>
      <dgm:spPr/>
    </dgm:pt>
    <dgm:pt modelId="{197A0A96-EF8A-44B3-9A44-E6E11FC8A596}" type="pres">
      <dgm:prSet presAssocID="{6F2D8C25-FB94-4C97-AD7A-91AF5DE78104}" presName="parallelogram3" presStyleLbl="alignNode1" presStyleIdx="16" presStyleCnt="35"/>
      <dgm:spPr/>
    </dgm:pt>
    <dgm:pt modelId="{D8FF47CF-6E7A-4189-AFFA-DCCDDFEA25CE}" type="pres">
      <dgm:prSet presAssocID="{6F2D8C25-FB94-4C97-AD7A-91AF5DE78104}" presName="parallelogram4" presStyleLbl="alignNode1" presStyleIdx="17" presStyleCnt="35"/>
      <dgm:spPr/>
    </dgm:pt>
    <dgm:pt modelId="{42D5D7C0-8377-4DC8-967F-E22A0B1C2C65}" type="pres">
      <dgm:prSet presAssocID="{6F2D8C25-FB94-4C97-AD7A-91AF5DE78104}" presName="parallelogram5" presStyleLbl="alignNode1" presStyleIdx="18" presStyleCnt="35"/>
      <dgm:spPr/>
    </dgm:pt>
    <dgm:pt modelId="{98640E5A-FCF4-4AE6-B161-147867B8F774}" type="pres">
      <dgm:prSet presAssocID="{6F2D8C25-FB94-4C97-AD7A-91AF5DE78104}" presName="parallelogram6" presStyleLbl="alignNode1" presStyleIdx="19" presStyleCnt="35"/>
      <dgm:spPr/>
    </dgm:pt>
    <dgm:pt modelId="{0FB718D9-CE0E-4EB5-8BD8-67BF5D454FEA}" type="pres">
      <dgm:prSet presAssocID="{6F2D8C25-FB94-4C97-AD7A-91AF5DE78104}" presName="parallelogram7" presStyleLbl="alignNode1" presStyleIdx="20" presStyleCnt="35"/>
      <dgm:spPr/>
    </dgm:pt>
    <dgm:pt modelId="{2B33AE11-886D-4944-AECB-8995F78F8B97}" type="pres">
      <dgm:prSet presAssocID="{89373D55-CDFE-49EF-A102-31E5CE8E5B0E}" presName="sibTrans" presStyleCnt="0"/>
      <dgm:spPr/>
    </dgm:pt>
    <dgm:pt modelId="{A5D39BC5-AF4F-43A0-9EF9-E4DF1ABEF34D}" type="pres">
      <dgm:prSet presAssocID="{D66A9135-5DD2-4139-9194-500C9E579BEE}" presName="parenttextcomposite" presStyleCnt="0"/>
      <dgm:spPr/>
    </dgm:pt>
    <dgm:pt modelId="{A234D3AD-C341-4BC8-997C-3A86C9DE9290}" type="pres">
      <dgm:prSet presAssocID="{D66A9135-5DD2-4139-9194-500C9E579BEE}" presName="parenttext" presStyleLbl="revTx" presStyleIdx="3" presStyleCnt="5">
        <dgm:presLayoutVars>
          <dgm:chMax/>
          <dgm:chPref val="2"/>
          <dgm:bulletEnabled val="1"/>
        </dgm:presLayoutVars>
      </dgm:prSet>
      <dgm:spPr/>
    </dgm:pt>
    <dgm:pt modelId="{E9BE3C28-35BA-4424-B895-08F0B0D14D8F}" type="pres">
      <dgm:prSet presAssocID="{D66A9135-5DD2-4139-9194-500C9E579BEE}" presName="parallelogramComposite" presStyleCnt="0"/>
      <dgm:spPr/>
    </dgm:pt>
    <dgm:pt modelId="{36DF80DF-4DF7-42D2-818F-D0F82AAB713C}" type="pres">
      <dgm:prSet presAssocID="{D66A9135-5DD2-4139-9194-500C9E579BEE}" presName="parallelogram1" presStyleLbl="alignNode1" presStyleIdx="21" presStyleCnt="35"/>
      <dgm:spPr/>
    </dgm:pt>
    <dgm:pt modelId="{AA8B75F3-6E3C-4369-A615-B04701FB3F99}" type="pres">
      <dgm:prSet presAssocID="{D66A9135-5DD2-4139-9194-500C9E579BEE}" presName="parallelogram2" presStyleLbl="alignNode1" presStyleIdx="22" presStyleCnt="35"/>
      <dgm:spPr/>
    </dgm:pt>
    <dgm:pt modelId="{7A878F1E-7920-4CF2-A3CE-277488855F7C}" type="pres">
      <dgm:prSet presAssocID="{D66A9135-5DD2-4139-9194-500C9E579BEE}" presName="parallelogram3" presStyleLbl="alignNode1" presStyleIdx="23" presStyleCnt="35"/>
      <dgm:spPr/>
    </dgm:pt>
    <dgm:pt modelId="{C9BC8576-A61A-42D8-93EA-E433C6D89F33}" type="pres">
      <dgm:prSet presAssocID="{D66A9135-5DD2-4139-9194-500C9E579BEE}" presName="parallelogram4" presStyleLbl="alignNode1" presStyleIdx="24" presStyleCnt="35"/>
      <dgm:spPr/>
    </dgm:pt>
    <dgm:pt modelId="{2AA75084-A7ED-45F2-AF07-8D48E96785CB}" type="pres">
      <dgm:prSet presAssocID="{D66A9135-5DD2-4139-9194-500C9E579BEE}" presName="parallelogram5" presStyleLbl="alignNode1" presStyleIdx="25" presStyleCnt="35"/>
      <dgm:spPr/>
    </dgm:pt>
    <dgm:pt modelId="{91395A6B-36FB-416B-BC49-327384F82703}" type="pres">
      <dgm:prSet presAssocID="{D66A9135-5DD2-4139-9194-500C9E579BEE}" presName="parallelogram6" presStyleLbl="alignNode1" presStyleIdx="26" presStyleCnt="35"/>
      <dgm:spPr/>
    </dgm:pt>
    <dgm:pt modelId="{B917B671-3C62-4F21-A2FF-DBA1EB3F4061}" type="pres">
      <dgm:prSet presAssocID="{D66A9135-5DD2-4139-9194-500C9E579BEE}" presName="parallelogram7" presStyleLbl="alignNode1" presStyleIdx="27" presStyleCnt="35"/>
      <dgm:spPr/>
    </dgm:pt>
    <dgm:pt modelId="{859EC9AA-461B-422F-82A1-2F9DFB5FF8B1}" type="pres">
      <dgm:prSet presAssocID="{967666E5-7431-4390-9B3B-A7ECC3286F8D}" presName="sibTrans" presStyleCnt="0"/>
      <dgm:spPr/>
    </dgm:pt>
    <dgm:pt modelId="{EEA738E2-272F-4AAB-B416-AE1616083ED4}" type="pres">
      <dgm:prSet presAssocID="{585A80A8-9F7B-4DF1-B25C-FAD13B980EDD}" presName="parenttextcomposite" presStyleCnt="0"/>
      <dgm:spPr/>
    </dgm:pt>
    <dgm:pt modelId="{490BBF67-335F-4583-88EB-18B40DFE7786}" type="pres">
      <dgm:prSet presAssocID="{585A80A8-9F7B-4DF1-B25C-FAD13B980EDD}" presName="parenttext" presStyleLbl="revTx" presStyleIdx="4" presStyleCnt="5">
        <dgm:presLayoutVars>
          <dgm:chMax/>
          <dgm:chPref val="2"/>
          <dgm:bulletEnabled val="1"/>
        </dgm:presLayoutVars>
      </dgm:prSet>
      <dgm:spPr/>
    </dgm:pt>
    <dgm:pt modelId="{7977D00E-9CD0-42A8-B4F9-C5CD8B718F1A}" type="pres">
      <dgm:prSet presAssocID="{585A80A8-9F7B-4DF1-B25C-FAD13B980EDD}" presName="parallelogramComposite" presStyleCnt="0"/>
      <dgm:spPr/>
    </dgm:pt>
    <dgm:pt modelId="{3055ED1F-2D00-4F74-8732-FD6FA2445EBA}" type="pres">
      <dgm:prSet presAssocID="{585A80A8-9F7B-4DF1-B25C-FAD13B980EDD}" presName="parallelogram1" presStyleLbl="alignNode1" presStyleIdx="28" presStyleCnt="35"/>
      <dgm:spPr/>
    </dgm:pt>
    <dgm:pt modelId="{CC9510FA-C6A7-4524-BC0F-1C51945FF5F8}" type="pres">
      <dgm:prSet presAssocID="{585A80A8-9F7B-4DF1-B25C-FAD13B980EDD}" presName="parallelogram2" presStyleLbl="alignNode1" presStyleIdx="29" presStyleCnt="35"/>
      <dgm:spPr/>
    </dgm:pt>
    <dgm:pt modelId="{28A6AD21-7910-4BF6-B124-9941F262E2E3}" type="pres">
      <dgm:prSet presAssocID="{585A80A8-9F7B-4DF1-B25C-FAD13B980EDD}" presName="parallelogram3" presStyleLbl="alignNode1" presStyleIdx="30" presStyleCnt="35"/>
      <dgm:spPr/>
    </dgm:pt>
    <dgm:pt modelId="{AF86CFD1-59F3-466E-BA63-EDC6A87872BC}" type="pres">
      <dgm:prSet presAssocID="{585A80A8-9F7B-4DF1-B25C-FAD13B980EDD}" presName="parallelogram4" presStyleLbl="alignNode1" presStyleIdx="31" presStyleCnt="35"/>
      <dgm:spPr/>
    </dgm:pt>
    <dgm:pt modelId="{CEE5BECD-803F-4B56-B536-EE92351870C7}" type="pres">
      <dgm:prSet presAssocID="{585A80A8-9F7B-4DF1-B25C-FAD13B980EDD}" presName="parallelogram5" presStyleLbl="alignNode1" presStyleIdx="32" presStyleCnt="35"/>
      <dgm:spPr/>
    </dgm:pt>
    <dgm:pt modelId="{DA89959D-1D01-4AB1-B436-762C467D93B9}" type="pres">
      <dgm:prSet presAssocID="{585A80A8-9F7B-4DF1-B25C-FAD13B980EDD}" presName="parallelogram6" presStyleLbl="alignNode1" presStyleIdx="33" presStyleCnt="35"/>
      <dgm:spPr/>
    </dgm:pt>
    <dgm:pt modelId="{22E39CA4-DD64-4664-B5DF-92A8E6318C0F}" type="pres">
      <dgm:prSet presAssocID="{585A80A8-9F7B-4DF1-B25C-FAD13B980EDD}" presName="parallelogram7" presStyleLbl="alignNode1" presStyleIdx="34" presStyleCnt="35"/>
      <dgm:spPr/>
    </dgm:pt>
  </dgm:ptLst>
  <dgm:cxnLst>
    <dgm:cxn modelId="{82C96A06-ED0C-44A0-84D2-BF36652EF867}" type="presOf" srcId="{D66A9135-5DD2-4139-9194-500C9E579BEE}" destId="{A234D3AD-C341-4BC8-997C-3A86C9DE9290}" srcOrd="0" destOrd="0" presId="urn:microsoft.com/office/officeart/2008/layout/VerticalAccentList"/>
    <dgm:cxn modelId="{9FA24B06-EB5F-4209-B498-6917C750CD97}" srcId="{94F535B0-3EC7-40EE-84CA-EAB983C14F56}" destId="{A6212DA1-0577-4879-BC48-6FD756139E40}" srcOrd="0" destOrd="0" parTransId="{9EB2B6EA-ACE8-4DC9-ABC0-8614FCA3DAEA}" sibTransId="{E8E1801F-A179-4C3B-956E-23AC065A5A35}"/>
    <dgm:cxn modelId="{F9375A25-8DF5-42FA-8303-B8FA513516CE}" type="presOf" srcId="{A6212DA1-0577-4879-BC48-6FD756139E40}" destId="{4D68F560-4B97-487B-84DB-96A8ADD769B2}" srcOrd="0" destOrd="0" presId="urn:microsoft.com/office/officeart/2008/layout/VerticalAccentList"/>
    <dgm:cxn modelId="{85BF6129-F171-49AB-8CA2-C4F1C33436EA}" type="presOf" srcId="{6F2D8C25-FB94-4C97-AD7A-91AF5DE78104}" destId="{E2A8C97A-4062-4C56-BF39-658B22A4C2B3}" srcOrd="0" destOrd="0" presId="urn:microsoft.com/office/officeart/2008/layout/VerticalAccentList"/>
    <dgm:cxn modelId="{8C35F334-7F46-4A90-9294-529ADA83E793}" srcId="{94F535B0-3EC7-40EE-84CA-EAB983C14F56}" destId="{6F2D8C25-FB94-4C97-AD7A-91AF5DE78104}" srcOrd="2" destOrd="0" parTransId="{3C5929E6-2113-4814-9F8E-394FD3447C21}" sibTransId="{89373D55-CDFE-49EF-A102-31E5CE8E5B0E}"/>
    <dgm:cxn modelId="{CBDBCB75-1738-4831-A815-102EF3A74B6B}" srcId="{94F535B0-3EC7-40EE-84CA-EAB983C14F56}" destId="{918BD176-E82B-43DD-ACF5-EC4614571D6F}" srcOrd="1" destOrd="0" parTransId="{A601F90A-5D46-4027-8BB9-DEA46DB30144}" sibTransId="{748C5FBA-908F-45C4-B87B-85EB132D5D1C}"/>
    <dgm:cxn modelId="{E5B85899-9A64-4E75-98F9-23D14B47DF15}" srcId="{94F535B0-3EC7-40EE-84CA-EAB983C14F56}" destId="{D66A9135-5DD2-4139-9194-500C9E579BEE}" srcOrd="3" destOrd="0" parTransId="{DA726E0C-CA3D-4F2C-99A2-D868332BB8A6}" sibTransId="{967666E5-7431-4390-9B3B-A7ECC3286F8D}"/>
    <dgm:cxn modelId="{2A1BB2A5-DFD3-449B-96D9-A366BA7E7CA9}" type="presOf" srcId="{585A80A8-9F7B-4DF1-B25C-FAD13B980EDD}" destId="{490BBF67-335F-4583-88EB-18B40DFE7786}" srcOrd="0" destOrd="0" presId="urn:microsoft.com/office/officeart/2008/layout/VerticalAccentList"/>
    <dgm:cxn modelId="{3C2A8BA8-75D5-4D17-A7AB-69833504CADD}" type="presOf" srcId="{918BD176-E82B-43DD-ACF5-EC4614571D6F}" destId="{ABB437BC-8901-48FC-9076-105F2B43510E}" srcOrd="0" destOrd="0" presId="urn:microsoft.com/office/officeart/2008/layout/VerticalAccentList"/>
    <dgm:cxn modelId="{50CC60C1-2F58-4E5A-BA7F-F4C044BFCD50}" srcId="{94F535B0-3EC7-40EE-84CA-EAB983C14F56}" destId="{585A80A8-9F7B-4DF1-B25C-FAD13B980EDD}" srcOrd="4" destOrd="0" parTransId="{0D568057-83E5-4829-A913-FF3A8F9D58D5}" sibTransId="{3104DFCE-6996-45E1-A7D8-940ECA8B5E8E}"/>
    <dgm:cxn modelId="{6C3B84D1-92F0-4454-B33F-E2C6EF077E82}" type="presOf" srcId="{94F535B0-3EC7-40EE-84CA-EAB983C14F56}" destId="{570DF381-3875-444E-A01F-82EB97F08A78}" srcOrd="0" destOrd="0" presId="urn:microsoft.com/office/officeart/2008/layout/VerticalAccentList"/>
    <dgm:cxn modelId="{34530F00-2BFA-4304-AB07-230973DA8BE5}" type="presParOf" srcId="{570DF381-3875-444E-A01F-82EB97F08A78}" destId="{E7502D47-121A-4A50-BF0E-02EFE6FE4A74}" srcOrd="0" destOrd="0" presId="urn:microsoft.com/office/officeart/2008/layout/VerticalAccentList"/>
    <dgm:cxn modelId="{B5B0BDBB-8390-4F67-8715-2B4B482CCBEC}" type="presParOf" srcId="{E7502D47-121A-4A50-BF0E-02EFE6FE4A74}" destId="{4D68F560-4B97-487B-84DB-96A8ADD769B2}" srcOrd="0" destOrd="0" presId="urn:microsoft.com/office/officeart/2008/layout/VerticalAccentList"/>
    <dgm:cxn modelId="{05B234F9-8DD8-4234-A5EB-DDDEA0A25B3D}" type="presParOf" srcId="{570DF381-3875-444E-A01F-82EB97F08A78}" destId="{695D45CE-8094-441B-9D6E-CD508E9E7801}" srcOrd="1" destOrd="0" presId="urn:microsoft.com/office/officeart/2008/layout/VerticalAccentList"/>
    <dgm:cxn modelId="{6AC67C8A-1250-450F-9660-83CD08B34BC9}" type="presParOf" srcId="{695D45CE-8094-441B-9D6E-CD508E9E7801}" destId="{9A1CD9D9-750B-4F4F-9B04-CD9EAF98A833}" srcOrd="0" destOrd="0" presId="urn:microsoft.com/office/officeart/2008/layout/VerticalAccentList"/>
    <dgm:cxn modelId="{DED41DE7-839A-491D-9192-285AB1D181DE}" type="presParOf" srcId="{695D45CE-8094-441B-9D6E-CD508E9E7801}" destId="{1408E809-F190-4574-8566-E644C1A8F160}" srcOrd="1" destOrd="0" presId="urn:microsoft.com/office/officeart/2008/layout/VerticalAccentList"/>
    <dgm:cxn modelId="{01F6ED81-DF27-439E-9A5A-FD1E8488FEEA}" type="presParOf" srcId="{695D45CE-8094-441B-9D6E-CD508E9E7801}" destId="{4C50135F-336F-42EC-95EB-0229BA4B822C}" srcOrd="2" destOrd="0" presId="urn:microsoft.com/office/officeart/2008/layout/VerticalAccentList"/>
    <dgm:cxn modelId="{51E55B7A-483A-4666-81B2-77684F1C0862}" type="presParOf" srcId="{695D45CE-8094-441B-9D6E-CD508E9E7801}" destId="{F06D3DA6-41C7-4E3F-9668-B8035C9E7479}" srcOrd="3" destOrd="0" presId="urn:microsoft.com/office/officeart/2008/layout/VerticalAccentList"/>
    <dgm:cxn modelId="{E456B4D0-4C07-434B-8FF5-DE99A54324E2}" type="presParOf" srcId="{695D45CE-8094-441B-9D6E-CD508E9E7801}" destId="{39A4DC12-7B25-4686-A334-054B9AA8D154}" srcOrd="4" destOrd="0" presId="urn:microsoft.com/office/officeart/2008/layout/VerticalAccentList"/>
    <dgm:cxn modelId="{E4BEC5E0-50DD-41D8-B3CE-D2517AAAD2ED}" type="presParOf" srcId="{695D45CE-8094-441B-9D6E-CD508E9E7801}" destId="{FA455300-7285-429D-A54A-673C05B710CC}" srcOrd="5" destOrd="0" presId="urn:microsoft.com/office/officeart/2008/layout/VerticalAccentList"/>
    <dgm:cxn modelId="{8597938C-9295-48E1-8149-FBDD8EA21FE3}" type="presParOf" srcId="{695D45CE-8094-441B-9D6E-CD508E9E7801}" destId="{AA9F137B-52FA-4702-AC12-BA375C60538C}" srcOrd="6" destOrd="0" presId="urn:microsoft.com/office/officeart/2008/layout/VerticalAccentList"/>
    <dgm:cxn modelId="{6BC7503A-A66C-4E5C-90A7-E9AF180B41FD}" type="presParOf" srcId="{570DF381-3875-444E-A01F-82EB97F08A78}" destId="{6784E3B8-2789-4AA9-843C-2AFA193190B3}" srcOrd="2" destOrd="0" presId="urn:microsoft.com/office/officeart/2008/layout/VerticalAccentList"/>
    <dgm:cxn modelId="{7C686893-1583-4966-B36B-A84A92D28C8A}" type="presParOf" srcId="{570DF381-3875-444E-A01F-82EB97F08A78}" destId="{084DF776-3CF8-4A35-B5C0-2A3CD1911756}" srcOrd="3" destOrd="0" presId="urn:microsoft.com/office/officeart/2008/layout/VerticalAccentList"/>
    <dgm:cxn modelId="{DC7C3C93-56E8-479F-A799-50CAAE07BFF6}" type="presParOf" srcId="{084DF776-3CF8-4A35-B5C0-2A3CD1911756}" destId="{ABB437BC-8901-48FC-9076-105F2B43510E}" srcOrd="0" destOrd="0" presId="urn:microsoft.com/office/officeart/2008/layout/VerticalAccentList"/>
    <dgm:cxn modelId="{AA540C29-E1C9-48C8-85E3-875D90037313}" type="presParOf" srcId="{570DF381-3875-444E-A01F-82EB97F08A78}" destId="{F52D9201-AF18-4D42-8660-837E89B07C71}" srcOrd="4" destOrd="0" presId="urn:microsoft.com/office/officeart/2008/layout/VerticalAccentList"/>
    <dgm:cxn modelId="{347EB806-67E5-4EDC-94D5-21477B4E40C4}" type="presParOf" srcId="{F52D9201-AF18-4D42-8660-837E89B07C71}" destId="{90FC1EC3-DEE6-4556-B4C8-B049B599FB42}" srcOrd="0" destOrd="0" presId="urn:microsoft.com/office/officeart/2008/layout/VerticalAccentList"/>
    <dgm:cxn modelId="{EE3C7281-07F6-4E18-B361-22AA3D58311A}" type="presParOf" srcId="{F52D9201-AF18-4D42-8660-837E89B07C71}" destId="{EB16AFA5-7CB1-4DB6-8F76-ADD862C3F086}" srcOrd="1" destOrd="0" presId="urn:microsoft.com/office/officeart/2008/layout/VerticalAccentList"/>
    <dgm:cxn modelId="{02EA323E-DE4E-4821-9DCD-3F250FF9FED8}" type="presParOf" srcId="{F52D9201-AF18-4D42-8660-837E89B07C71}" destId="{A2F25226-7237-4D8E-92BF-8D68ABC6FFB8}" srcOrd="2" destOrd="0" presId="urn:microsoft.com/office/officeart/2008/layout/VerticalAccentList"/>
    <dgm:cxn modelId="{18B4909B-C30B-4D68-8CB5-2EBB6E8DCD02}" type="presParOf" srcId="{F52D9201-AF18-4D42-8660-837E89B07C71}" destId="{19547312-D9F8-4350-86A1-1C040B38C29C}" srcOrd="3" destOrd="0" presId="urn:microsoft.com/office/officeart/2008/layout/VerticalAccentList"/>
    <dgm:cxn modelId="{AECC9116-1404-45ED-A922-61FB04AE73B6}" type="presParOf" srcId="{F52D9201-AF18-4D42-8660-837E89B07C71}" destId="{90F9D93B-368C-47DA-ABF0-E96E4D35BCB1}" srcOrd="4" destOrd="0" presId="urn:microsoft.com/office/officeart/2008/layout/VerticalAccentList"/>
    <dgm:cxn modelId="{3457E9C6-076B-4B88-B32C-E390D09FD5E9}" type="presParOf" srcId="{F52D9201-AF18-4D42-8660-837E89B07C71}" destId="{AF8D96B1-434D-4797-9310-486419B3E7A0}" srcOrd="5" destOrd="0" presId="urn:microsoft.com/office/officeart/2008/layout/VerticalAccentList"/>
    <dgm:cxn modelId="{47DB31B8-BD85-42CA-9CA2-2413D19F0B93}" type="presParOf" srcId="{F52D9201-AF18-4D42-8660-837E89B07C71}" destId="{7CA3BC49-B45C-4005-879C-11604E3F08BF}" srcOrd="6" destOrd="0" presId="urn:microsoft.com/office/officeart/2008/layout/VerticalAccentList"/>
    <dgm:cxn modelId="{28E6D752-8F1B-4988-91AE-90408296C543}" type="presParOf" srcId="{570DF381-3875-444E-A01F-82EB97F08A78}" destId="{95BCE89F-9CDA-4157-ABE5-FA3BE566E608}" srcOrd="5" destOrd="0" presId="urn:microsoft.com/office/officeart/2008/layout/VerticalAccentList"/>
    <dgm:cxn modelId="{4B461662-EEEA-45AF-8ABD-F869AC3B693E}" type="presParOf" srcId="{570DF381-3875-444E-A01F-82EB97F08A78}" destId="{8A80CACB-05B1-44D6-972F-3F4C5944E9D6}" srcOrd="6" destOrd="0" presId="urn:microsoft.com/office/officeart/2008/layout/VerticalAccentList"/>
    <dgm:cxn modelId="{177ABF99-69D1-400B-8BE1-86C6280A5846}" type="presParOf" srcId="{8A80CACB-05B1-44D6-972F-3F4C5944E9D6}" destId="{E2A8C97A-4062-4C56-BF39-658B22A4C2B3}" srcOrd="0" destOrd="0" presId="urn:microsoft.com/office/officeart/2008/layout/VerticalAccentList"/>
    <dgm:cxn modelId="{104DC11B-1464-4CD6-9DB7-F7CD0850A1C4}" type="presParOf" srcId="{570DF381-3875-444E-A01F-82EB97F08A78}" destId="{6210C2B8-D9D0-4448-9A56-C492DC64C9AA}" srcOrd="7" destOrd="0" presId="urn:microsoft.com/office/officeart/2008/layout/VerticalAccentList"/>
    <dgm:cxn modelId="{F5BB9B0B-61DC-4EED-80DC-F2386062960B}" type="presParOf" srcId="{6210C2B8-D9D0-4448-9A56-C492DC64C9AA}" destId="{4AF8C838-FAB6-4065-8B3D-4A3C67CDDE37}" srcOrd="0" destOrd="0" presId="urn:microsoft.com/office/officeart/2008/layout/VerticalAccentList"/>
    <dgm:cxn modelId="{702A1468-7EEC-4CCA-B163-D5AD6DE05122}" type="presParOf" srcId="{6210C2B8-D9D0-4448-9A56-C492DC64C9AA}" destId="{D3ECA08C-8262-4479-A631-1B237251643F}" srcOrd="1" destOrd="0" presId="urn:microsoft.com/office/officeart/2008/layout/VerticalAccentList"/>
    <dgm:cxn modelId="{89C2B4EB-985E-40C0-8FC8-BBF711312F11}" type="presParOf" srcId="{6210C2B8-D9D0-4448-9A56-C492DC64C9AA}" destId="{197A0A96-EF8A-44B3-9A44-E6E11FC8A596}" srcOrd="2" destOrd="0" presId="urn:microsoft.com/office/officeart/2008/layout/VerticalAccentList"/>
    <dgm:cxn modelId="{A48392D2-DE36-4DB9-A34E-2B654881D853}" type="presParOf" srcId="{6210C2B8-D9D0-4448-9A56-C492DC64C9AA}" destId="{D8FF47CF-6E7A-4189-AFFA-DCCDDFEA25CE}" srcOrd="3" destOrd="0" presId="urn:microsoft.com/office/officeart/2008/layout/VerticalAccentList"/>
    <dgm:cxn modelId="{D0391171-E78A-427F-B3A8-5D9EE6CF2206}" type="presParOf" srcId="{6210C2B8-D9D0-4448-9A56-C492DC64C9AA}" destId="{42D5D7C0-8377-4DC8-967F-E22A0B1C2C65}" srcOrd="4" destOrd="0" presId="urn:microsoft.com/office/officeart/2008/layout/VerticalAccentList"/>
    <dgm:cxn modelId="{25DB4DB8-1374-4A97-83C4-B028B0AE575A}" type="presParOf" srcId="{6210C2B8-D9D0-4448-9A56-C492DC64C9AA}" destId="{98640E5A-FCF4-4AE6-B161-147867B8F774}" srcOrd="5" destOrd="0" presId="urn:microsoft.com/office/officeart/2008/layout/VerticalAccentList"/>
    <dgm:cxn modelId="{A1CD3F34-E76B-44AB-9E0D-D11A00B07113}" type="presParOf" srcId="{6210C2B8-D9D0-4448-9A56-C492DC64C9AA}" destId="{0FB718D9-CE0E-4EB5-8BD8-67BF5D454FEA}" srcOrd="6" destOrd="0" presId="urn:microsoft.com/office/officeart/2008/layout/VerticalAccentList"/>
    <dgm:cxn modelId="{C5EB7CB8-783B-4C32-9D3C-C17AC59DF7C5}" type="presParOf" srcId="{570DF381-3875-444E-A01F-82EB97F08A78}" destId="{2B33AE11-886D-4944-AECB-8995F78F8B97}" srcOrd="8" destOrd="0" presId="urn:microsoft.com/office/officeart/2008/layout/VerticalAccentList"/>
    <dgm:cxn modelId="{16E5C876-E970-4295-B901-54455AA47FA2}" type="presParOf" srcId="{570DF381-3875-444E-A01F-82EB97F08A78}" destId="{A5D39BC5-AF4F-43A0-9EF9-E4DF1ABEF34D}" srcOrd="9" destOrd="0" presId="urn:microsoft.com/office/officeart/2008/layout/VerticalAccentList"/>
    <dgm:cxn modelId="{1003FA58-3DC5-4BC0-B6C0-3AC3779DB566}" type="presParOf" srcId="{A5D39BC5-AF4F-43A0-9EF9-E4DF1ABEF34D}" destId="{A234D3AD-C341-4BC8-997C-3A86C9DE9290}" srcOrd="0" destOrd="0" presId="urn:microsoft.com/office/officeart/2008/layout/VerticalAccentList"/>
    <dgm:cxn modelId="{577C1E77-C9A9-4AD1-B18A-D9D0C61D42E5}" type="presParOf" srcId="{570DF381-3875-444E-A01F-82EB97F08A78}" destId="{E9BE3C28-35BA-4424-B895-08F0B0D14D8F}" srcOrd="10" destOrd="0" presId="urn:microsoft.com/office/officeart/2008/layout/VerticalAccentList"/>
    <dgm:cxn modelId="{0023C2B6-CE94-427B-9F23-3C19B02B7E2E}" type="presParOf" srcId="{E9BE3C28-35BA-4424-B895-08F0B0D14D8F}" destId="{36DF80DF-4DF7-42D2-818F-D0F82AAB713C}" srcOrd="0" destOrd="0" presId="urn:microsoft.com/office/officeart/2008/layout/VerticalAccentList"/>
    <dgm:cxn modelId="{E71E4EE1-EEFF-42B8-9619-BEFC8A8A5D30}" type="presParOf" srcId="{E9BE3C28-35BA-4424-B895-08F0B0D14D8F}" destId="{AA8B75F3-6E3C-4369-A615-B04701FB3F99}" srcOrd="1" destOrd="0" presId="urn:microsoft.com/office/officeart/2008/layout/VerticalAccentList"/>
    <dgm:cxn modelId="{639CCFE6-C4A7-422B-8722-7C4AD79B2119}" type="presParOf" srcId="{E9BE3C28-35BA-4424-B895-08F0B0D14D8F}" destId="{7A878F1E-7920-4CF2-A3CE-277488855F7C}" srcOrd="2" destOrd="0" presId="urn:microsoft.com/office/officeart/2008/layout/VerticalAccentList"/>
    <dgm:cxn modelId="{85D2A836-FB9F-4CC0-9DC3-589D062903AC}" type="presParOf" srcId="{E9BE3C28-35BA-4424-B895-08F0B0D14D8F}" destId="{C9BC8576-A61A-42D8-93EA-E433C6D89F33}" srcOrd="3" destOrd="0" presId="urn:microsoft.com/office/officeart/2008/layout/VerticalAccentList"/>
    <dgm:cxn modelId="{1344E272-93B7-4B89-9422-C848A1708A12}" type="presParOf" srcId="{E9BE3C28-35BA-4424-B895-08F0B0D14D8F}" destId="{2AA75084-A7ED-45F2-AF07-8D48E96785CB}" srcOrd="4" destOrd="0" presId="urn:microsoft.com/office/officeart/2008/layout/VerticalAccentList"/>
    <dgm:cxn modelId="{7BD0098F-F99D-4CC5-914B-D5C1951AC818}" type="presParOf" srcId="{E9BE3C28-35BA-4424-B895-08F0B0D14D8F}" destId="{91395A6B-36FB-416B-BC49-327384F82703}" srcOrd="5" destOrd="0" presId="urn:microsoft.com/office/officeart/2008/layout/VerticalAccentList"/>
    <dgm:cxn modelId="{F1EDD091-439D-4EA8-A3DE-9345CB3DCDAC}" type="presParOf" srcId="{E9BE3C28-35BA-4424-B895-08F0B0D14D8F}" destId="{B917B671-3C62-4F21-A2FF-DBA1EB3F4061}" srcOrd="6" destOrd="0" presId="urn:microsoft.com/office/officeart/2008/layout/VerticalAccentList"/>
    <dgm:cxn modelId="{9FAB9DF6-96AA-425E-9990-34DF87F1E0E8}" type="presParOf" srcId="{570DF381-3875-444E-A01F-82EB97F08A78}" destId="{859EC9AA-461B-422F-82A1-2F9DFB5FF8B1}" srcOrd="11" destOrd="0" presId="urn:microsoft.com/office/officeart/2008/layout/VerticalAccentList"/>
    <dgm:cxn modelId="{18DB038D-0FA4-4504-BB41-470BB3A3CC17}" type="presParOf" srcId="{570DF381-3875-444E-A01F-82EB97F08A78}" destId="{EEA738E2-272F-4AAB-B416-AE1616083ED4}" srcOrd="12" destOrd="0" presId="urn:microsoft.com/office/officeart/2008/layout/VerticalAccentList"/>
    <dgm:cxn modelId="{460DA730-381C-4D8C-A8BA-472A5E954B74}" type="presParOf" srcId="{EEA738E2-272F-4AAB-B416-AE1616083ED4}" destId="{490BBF67-335F-4583-88EB-18B40DFE7786}" srcOrd="0" destOrd="0" presId="urn:microsoft.com/office/officeart/2008/layout/VerticalAccentList"/>
    <dgm:cxn modelId="{20F9FA14-4BBB-493E-9ACC-78421737AEA4}" type="presParOf" srcId="{570DF381-3875-444E-A01F-82EB97F08A78}" destId="{7977D00E-9CD0-42A8-B4F9-C5CD8B718F1A}" srcOrd="13" destOrd="0" presId="urn:microsoft.com/office/officeart/2008/layout/VerticalAccentList"/>
    <dgm:cxn modelId="{54294948-DF48-4BC6-9376-07D4AE7B8573}" type="presParOf" srcId="{7977D00E-9CD0-42A8-B4F9-C5CD8B718F1A}" destId="{3055ED1F-2D00-4F74-8732-FD6FA2445EBA}" srcOrd="0" destOrd="0" presId="urn:microsoft.com/office/officeart/2008/layout/VerticalAccentList"/>
    <dgm:cxn modelId="{2C969EE4-A319-4311-A577-FF426E42B1AC}" type="presParOf" srcId="{7977D00E-9CD0-42A8-B4F9-C5CD8B718F1A}" destId="{CC9510FA-C6A7-4524-BC0F-1C51945FF5F8}" srcOrd="1" destOrd="0" presId="urn:microsoft.com/office/officeart/2008/layout/VerticalAccentList"/>
    <dgm:cxn modelId="{BEDC52EA-D398-4CFC-AA89-E6637AC226D0}" type="presParOf" srcId="{7977D00E-9CD0-42A8-B4F9-C5CD8B718F1A}" destId="{28A6AD21-7910-4BF6-B124-9941F262E2E3}" srcOrd="2" destOrd="0" presId="urn:microsoft.com/office/officeart/2008/layout/VerticalAccentList"/>
    <dgm:cxn modelId="{881CD5FD-76D6-4BE7-A44A-555CF327265E}" type="presParOf" srcId="{7977D00E-9CD0-42A8-B4F9-C5CD8B718F1A}" destId="{AF86CFD1-59F3-466E-BA63-EDC6A87872BC}" srcOrd="3" destOrd="0" presId="urn:microsoft.com/office/officeart/2008/layout/VerticalAccentList"/>
    <dgm:cxn modelId="{BEAB64A1-7CEA-4576-AAB8-9B2FE39FF48C}" type="presParOf" srcId="{7977D00E-9CD0-42A8-B4F9-C5CD8B718F1A}" destId="{CEE5BECD-803F-4B56-B536-EE92351870C7}" srcOrd="4" destOrd="0" presId="urn:microsoft.com/office/officeart/2008/layout/VerticalAccentList"/>
    <dgm:cxn modelId="{57AAE38E-DED3-436B-A5A6-6326D8388202}" type="presParOf" srcId="{7977D00E-9CD0-42A8-B4F9-C5CD8B718F1A}" destId="{DA89959D-1D01-4AB1-B436-762C467D93B9}" srcOrd="5" destOrd="0" presId="urn:microsoft.com/office/officeart/2008/layout/VerticalAccentList"/>
    <dgm:cxn modelId="{43BB4B76-4C99-4620-828C-41DFE954950B}" type="presParOf" srcId="{7977D00E-9CD0-42A8-B4F9-C5CD8B718F1A}" destId="{22E39CA4-DD64-4664-B5DF-92A8E6318C0F}"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8A2D25A-AE7C-407D-B647-336FAA697B6D}" type="doc">
      <dgm:prSet loTypeId="urn:microsoft.com/office/officeart/2005/8/layout/equation2" loCatId="relationship" qsTypeId="urn:microsoft.com/office/officeart/2005/8/quickstyle/simple1" qsCatId="simple" csTypeId="urn:microsoft.com/office/officeart/2005/8/colors/colorful1" csCatId="colorful" phldr="1"/>
      <dgm:spPr/>
      <dgm:t>
        <a:bodyPr/>
        <a:lstStyle/>
        <a:p>
          <a:endParaRPr lang="en-US"/>
        </a:p>
      </dgm:t>
    </dgm:pt>
    <dgm:pt modelId="{10F48D91-4E6B-4ACE-8348-7DB1A0FE25FD}">
      <dgm:prSet phldrT="[Text]"/>
      <dgm:spPr/>
      <dgm:t>
        <a:bodyPr/>
        <a:lstStyle/>
        <a:p>
          <a:r>
            <a:rPr lang="en-US" dirty="0"/>
            <a:t>IaaS</a:t>
          </a:r>
        </a:p>
      </dgm:t>
    </dgm:pt>
    <dgm:pt modelId="{97AB7EED-1548-402C-AF54-20C5B2B6BFBB}" type="parTrans" cxnId="{79025570-9DC3-4BA9-AA76-952DBA0BDB38}">
      <dgm:prSet/>
      <dgm:spPr/>
      <dgm:t>
        <a:bodyPr/>
        <a:lstStyle/>
        <a:p>
          <a:endParaRPr lang="en-US"/>
        </a:p>
      </dgm:t>
    </dgm:pt>
    <dgm:pt modelId="{6C417FAF-2091-4ECA-9248-3E9541E4E756}" type="sibTrans" cxnId="{79025570-9DC3-4BA9-AA76-952DBA0BDB38}">
      <dgm:prSet/>
      <dgm:spPr>
        <a:solidFill>
          <a:schemeClr val="tx2">
            <a:lumMod val="75000"/>
          </a:schemeClr>
        </a:solidFill>
      </dgm:spPr>
      <dgm:t>
        <a:bodyPr/>
        <a:lstStyle/>
        <a:p>
          <a:endParaRPr lang="en-US"/>
        </a:p>
      </dgm:t>
    </dgm:pt>
    <dgm:pt modelId="{FF0B78E3-9513-4BC5-BA57-3BA12A85DAB2}">
      <dgm:prSet phldrT="[Text]"/>
      <dgm:spPr/>
      <dgm:t>
        <a:bodyPr/>
        <a:lstStyle/>
        <a:p>
          <a:r>
            <a:rPr lang="en-US" dirty="0"/>
            <a:t>Cloud Platform</a:t>
          </a:r>
        </a:p>
      </dgm:t>
    </dgm:pt>
    <dgm:pt modelId="{D697D9C1-B5E5-4C92-8D12-5B2AE01CEF8F}" type="parTrans" cxnId="{71028B7F-192D-499D-AF71-C5B8C1546020}">
      <dgm:prSet/>
      <dgm:spPr/>
      <dgm:t>
        <a:bodyPr/>
        <a:lstStyle/>
        <a:p>
          <a:endParaRPr lang="en-US"/>
        </a:p>
      </dgm:t>
    </dgm:pt>
    <dgm:pt modelId="{157071C8-3BE7-4553-8926-D76CB00CF5D7}" type="sibTrans" cxnId="{71028B7F-192D-499D-AF71-C5B8C1546020}">
      <dgm:prSet/>
      <dgm:spPr/>
      <dgm:t>
        <a:bodyPr/>
        <a:lstStyle/>
        <a:p>
          <a:endParaRPr lang="en-US"/>
        </a:p>
      </dgm:t>
    </dgm:pt>
    <dgm:pt modelId="{4601DA8E-D43A-4496-8C07-6D80107B478D}">
      <dgm:prSet phldrT="[Text]"/>
      <dgm:spPr/>
      <dgm:t>
        <a:bodyPr/>
        <a:lstStyle/>
        <a:p>
          <a:r>
            <a:rPr lang="en-US" dirty="0"/>
            <a:t>PaaS</a:t>
          </a:r>
        </a:p>
      </dgm:t>
    </dgm:pt>
    <dgm:pt modelId="{5344D593-91DB-4B46-B2D7-E728DE3C34CC}" type="parTrans" cxnId="{DAFEF4EA-3305-4EDA-8759-11E72CB88419}">
      <dgm:prSet/>
      <dgm:spPr/>
      <dgm:t>
        <a:bodyPr/>
        <a:lstStyle/>
        <a:p>
          <a:endParaRPr lang="en-US"/>
        </a:p>
      </dgm:t>
    </dgm:pt>
    <dgm:pt modelId="{F42CE548-E4FE-40AE-99C2-470D75EC772C}" type="sibTrans" cxnId="{DAFEF4EA-3305-4EDA-8759-11E72CB88419}">
      <dgm:prSet/>
      <dgm:spPr>
        <a:solidFill>
          <a:schemeClr val="accent1">
            <a:lumMod val="75000"/>
          </a:schemeClr>
        </a:solidFill>
      </dgm:spPr>
      <dgm:t>
        <a:bodyPr/>
        <a:lstStyle/>
        <a:p>
          <a:endParaRPr lang="en-US"/>
        </a:p>
      </dgm:t>
    </dgm:pt>
    <dgm:pt modelId="{9E6D370F-F6A8-442D-BA09-C5CC2993605F}" type="pres">
      <dgm:prSet presAssocID="{58A2D25A-AE7C-407D-B647-336FAA697B6D}" presName="Name0" presStyleCnt="0">
        <dgm:presLayoutVars>
          <dgm:dir/>
          <dgm:resizeHandles val="exact"/>
        </dgm:presLayoutVars>
      </dgm:prSet>
      <dgm:spPr/>
    </dgm:pt>
    <dgm:pt modelId="{F96BE603-1953-4B83-A4F7-05E3886474D6}" type="pres">
      <dgm:prSet presAssocID="{58A2D25A-AE7C-407D-B647-336FAA697B6D}" presName="vNodes" presStyleCnt="0"/>
      <dgm:spPr/>
    </dgm:pt>
    <dgm:pt modelId="{1B736B52-FDD6-490D-A2F2-D39F53660858}" type="pres">
      <dgm:prSet presAssocID="{10F48D91-4E6B-4ACE-8348-7DB1A0FE25FD}" presName="node" presStyleLbl="node1" presStyleIdx="0" presStyleCnt="3">
        <dgm:presLayoutVars>
          <dgm:bulletEnabled val="1"/>
        </dgm:presLayoutVars>
      </dgm:prSet>
      <dgm:spPr/>
    </dgm:pt>
    <dgm:pt modelId="{BBA4FB1C-F0D2-413F-B84D-A5E9236C5F95}" type="pres">
      <dgm:prSet presAssocID="{6C417FAF-2091-4ECA-9248-3E9541E4E756}" presName="spacerT" presStyleCnt="0"/>
      <dgm:spPr/>
    </dgm:pt>
    <dgm:pt modelId="{FE65C15B-04B2-4CBD-A291-71683D740BBF}" type="pres">
      <dgm:prSet presAssocID="{6C417FAF-2091-4ECA-9248-3E9541E4E756}" presName="sibTrans" presStyleLbl="sibTrans2D1" presStyleIdx="0" presStyleCnt="2"/>
      <dgm:spPr/>
    </dgm:pt>
    <dgm:pt modelId="{605ED8C7-03FD-4BA9-915D-7973811572A4}" type="pres">
      <dgm:prSet presAssocID="{6C417FAF-2091-4ECA-9248-3E9541E4E756}" presName="spacerB" presStyleCnt="0"/>
      <dgm:spPr/>
    </dgm:pt>
    <dgm:pt modelId="{157A940C-A17A-4A97-A899-FBFE8AAB42CB}" type="pres">
      <dgm:prSet presAssocID="{4601DA8E-D43A-4496-8C07-6D80107B478D}" presName="node" presStyleLbl="node1" presStyleIdx="1" presStyleCnt="3">
        <dgm:presLayoutVars>
          <dgm:bulletEnabled val="1"/>
        </dgm:presLayoutVars>
      </dgm:prSet>
      <dgm:spPr/>
    </dgm:pt>
    <dgm:pt modelId="{960BA3AE-41BA-45F4-8E43-7E711D4DE985}" type="pres">
      <dgm:prSet presAssocID="{58A2D25A-AE7C-407D-B647-336FAA697B6D}" presName="sibTransLast" presStyleLbl="sibTrans2D1" presStyleIdx="1" presStyleCnt="2"/>
      <dgm:spPr>
        <a:prstGeom prst="mathEqual">
          <a:avLst/>
        </a:prstGeom>
      </dgm:spPr>
    </dgm:pt>
    <dgm:pt modelId="{6D183A73-CA4B-4FF7-B7B8-451623301A0F}" type="pres">
      <dgm:prSet presAssocID="{58A2D25A-AE7C-407D-B647-336FAA697B6D}" presName="connectorText" presStyleLbl="sibTrans2D1" presStyleIdx="1" presStyleCnt="2"/>
      <dgm:spPr/>
    </dgm:pt>
    <dgm:pt modelId="{9164B51D-773E-4708-9D00-3B1DDFA52561}" type="pres">
      <dgm:prSet presAssocID="{58A2D25A-AE7C-407D-B647-336FAA697B6D}" presName="lastNode" presStyleLbl="node1" presStyleIdx="2" presStyleCnt="3">
        <dgm:presLayoutVars>
          <dgm:bulletEnabled val="1"/>
        </dgm:presLayoutVars>
      </dgm:prSet>
      <dgm:spPr/>
    </dgm:pt>
  </dgm:ptLst>
  <dgm:cxnLst>
    <dgm:cxn modelId="{5EDDFE27-E71C-463B-BF83-341F3FEBC2E2}" type="presOf" srcId="{4601DA8E-D43A-4496-8C07-6D80107B478D}" destId="{157A940C-A17A-4A97-A899-FBFE8AAB42CB}" srcOrd="0" destOrd="0" presId="urn:microsoft.com/office/officeart/2005/8/layout/equation2"/>
    <dgm:cxn modelId="{6142A533-6D11-48F5-81A5-BEEC374FEAD3}" type="presOf" srcId="{58A2D25A-AE7C-407D-B647-336FAA697B6D}" destId="{9E6D370F-F6A8-442D-BA09-C5CC2993605F}" srcOrd="0" destOrd="0" presId="urn:microsoft.com/office/officeart/2005/8/layout/equation2"/>
    <dgm:cxn modelId="{14EB7540-23F2-46A5-8B61-638A582E82FF}" type="presOf" srcId="{F42CE548-E4FE-40AE-99C2-470D75EC772C}" destId="{960BA3AE-41BA-45F4-8E43-7E711D4DE985}" srcOrd="0" destOrd="0" presId="urn:microsoft.com/office/officeart/2005/8/layout/equation2"/>
    <dgm:cxn modelId="{FD70674B-E2BF-4810-9BC8-45141DFA8FB9}" type="presOf" srcId="{6C417FAF-2091-4ECA-9248-3E9541E4E756}" destId="{FE65C15B-04B2-4CBD-A291-71683D740BBF}" srcOrd="0" destOrd="0" presId="urn:microsoft.com/office/officeart/2005/8/layout/equation2"/>
    <dgm:cxn modelId="{2952946B-E79B-42B1-8C5D-8A4E75F86C73}" type="presOf" srcId="{F42CE548-E4FE-40AE-99C2-470D75EC772C}" destId="{6D183A73-CA4B-4FF7-B7B8-451623301A0F}" srcOrd="1" destOrd="0" presId="urn:microsoft.com/office/officeart/2005/8/layout/equation2"/>
    <dgm:cxn modelId="{79025570-9DC3-4BA9-AA76-952DBA0BDB38}" srcId="{58A2D25A-AE7C-407D-B647-336FAA697B6D}" destId="{10F48D91-4E6B-4ACE-8348-7DB1A0FE25FD}" srcOrd="0" destOrd="0" parTransId="{97AB7EED-1548-402C-AF54-20C5B2B6BFBB}" sibTransId="{6C417FAF-2091-4ECA-9248-3E9541E4E756}"/>
    <dgm:cxn modelId="{71028B7F-192D-499D-AF71-C5B8C1546020}" srcId="{58A2D25A-AE7C-407D-B647-336FAA697B6D}" destId="{FF0B78E3-9513-4BC5-BA57-3BA12A85DAB2}" srcOrd="2" destOrd="0" parTransId="{D697D9C1-B5E5-4C92-8D12-5B2AE01CEF8F}" sibTransId="{157071C8-3BE7-4553-8926-D76CB00CF5D7}"/>
    <dgm:cxn modelId="{0F8D859F-392B-437C-8E95-D1DEA10409B2}" type="presOf" srcId="{10F48D91-4E6B-4ACE-8348-7DB1A0FE25FD}" destId="{1B736B52-FDD6-490D-A2F2-D39F53660858}" srcOrd="0" destOrd="0" presId="urn:microsoft.com/office/officeart/2005/8/layout/equation2"/>
    <dgm:cxn modelId="{D25798B4-C949-4E6D-98F8-21E4BD7B412A}" type="presOf" srcId="{FF0B78E3-9513-4BC5-BA57-3BA12A85DAB2}" destId="{9164B51D-773E-4708-9D00-3B1DDFA52561}" srcOrd="0" destOrd="0" presId="urn:microsoft.com/office/officeart/2005/8/layout/equation2"/>
    <dgm:cxn modelId="{DAFEF4EA-3305-4EDA-8759-11E72CB88419}" srcId="{58A2D25A-AE7C-407D-B647-336FAA697B6D}" destId="{4601DA8E-D43A-4496-8C07-6D80107B478D}" srcOrd="1" destOrd="0" parTransId="{5344D593-91DB-4B46-B2D7-E728DE3C34CC}" sibTransId="{F42CE548-E4FE-40AE-99C2-470D75EC772C}"/>
    <dgm:cxn modelId="{F1079566-6A80-4EF5-A2E9-96C460B1B262}" type="presParOf" srcId="{9E6D370F-F6A8-442D-BA09-C5CC2993605F}" destId="{F96BE603-1953-4B83-A4F7-05E3886474D6}" srcOrd="0" destOrd="0" presId="urn:microsoft.com/office/officeart/2005/8/layout/equation2"/>
    <dgm:cxn modelId="{18B51707-AD0A-420A-A4E9-EB820DBEB657}" type="presParOf" srcId="{F96BE603-1953-4B83-A4F7-05E3886474D6}" destId="{1B736B52-FDD6-490D-A2F2-D39F53660858}" srcOrd="0" destOrd="0" presId="urn:microsoft.com/office/officeart/2005/8/layout/equation2"/>
    <dgm:cxn modelId="{F7DE9D08-0F52-4E8A-A396-C111562198BC}" type="presParOf" srcId="{F96BE603-1953-4B83-A4F7-05E3886474D6}" destId="{BBA4FB1C-F0D2-413F-B84D-A5E9236C5F95}" srcOrd="1" destOrd="0" presId="urn:microsoft.com/office/officeart/2005/8/layout/equation2"/>
    <dgm:cxn modelId="{7985D09C-CDD7-47D2-AAA0-4D2272C04B15}" type="presParOf" srcId="{F96BE603-1953-4B83-A4F7-05E3886474D6}" destId="{FE65C15B-04B2-4CBD-A291-71683D740BBF}" srcOrd="2" destOrd="0" presId="urn:microsoft.com/office/officeart/2005/8/layout/equation2"/>
    <dgm:cxn modelId="{C500F6E3-61A1-455B-9488-974A519D3E2B}" type="presParOf" srcId="{F96BE603-1953-4B83-A4F7-05E3886474D6}" destId="{605ED8C7-03FD-4BA9-915D-7973811572A4}" srcOrd="3" destOrd="0" presId="urn:microsoft.com/office/officeart/2005/8/layout/equation2"/>
    <dgm:cxn modelId="{9EE55977-7FFE-4308-A22A-F5B49DD88A0F}" type="presParOf" srcId="{F96BE603-1953-4B83-A4F7-05E3886474D6}" destId="{157A940C-A17A-4A97-A899-FBFE8AAB42CB}" srcOrd="4" destOrd="0" presId="urn:microsoft.com/office/officeart/2005/8/layout/equation2"/>
    <dgm:cxn modelId="{010E098E-473B-4468-B569-94076B7A1B7A}" type="presParOf" srcId="{9E6D370F-F6A8-442D-BA09-C5CC2993605F}" destId="{960BA3AE-41BA-45F4-8E43-7E711D4DE985}" srcOrd="1" destOrd="0" presId="urn:microsoft.com/office/officeart/2005/8/layout/equation2"/>
    <dgm:cxn modelId="{1653C964-71A2-46CE-8C6A-5CAC53619C0C}" type="presParOf" srcId="{960BA3AE-41BA-45F4-8E43-7E711D4DE985}" destId="{6D183A73-CA4B-4FF7-B7B8-451623301A0F}" srcOrd="0" destOrd="0" presId="urn:microsoft.com/office/officeart/2005/8/layout/equation2"/>
    <dgm:cxn modelId="{9CEECB4C-54A9-4FB7-A1DC-81C340BB3326}" type="presParOf" srcId="{9E6D370F-F6A8-442D-BA09-C5CC2993605F}" destId="{9164B51D-773E-4708-9D00-3B1DDFA52561}"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0947D75-577A-4510-9948-CDA9502E6DCE}" type="doc">
      <dgm:prSet loTypeId="urn:microsoft.com/office/officeart/2005/8/layout/hList1" loCatId="list" qsTypeId="urn:microsoft.com/office/officeart/2005/8/quickstyle/simple1" qsCatId="simple" csTypeId="urn:microsoft.com/office/officeart/2005/8/colors/accent0_1" csCatId="mainScheme" phldr="1"/>
      <dgm:spPr/>
      <dgm:t>
        <a:bodyPr/>
        <a:lstStyle/>
        <a:p>
          <a:endParaRPr lang="en-US"/>
        </a:p>
      </dgm:t>
    </dgm:pt>
    <dgm:pt modelId="{43F79373-1C65-4D82-B0AD-A42A6FA6E686}">
      <dgm:prSet phldrT="[Text]"/>
      <dgm:spPr/>
      <dgm:t>
        <a:bodyPr/>
        <a:lstStyle/>
        <a:p>
          <a:r>
            <a:rPr lang="en-US" b="1" dirty="0"/>
            <a:t>IaaS</a:t>
          </a:r>
        </a:p>
      </dgm:t>
    </dgm:pt>
    <dgm:pt modelId="{3AA34893-340F-44EE-946A-3C409C095C03}" type="parTrans" cxnId="{817E7338-E4B4-4B1B-9FCB-F864F0903D65}">
      <dgm:prSet/>
      <dgm:spPr/>
      <dgm:t>
        <a:bodyPr/>
        <a:lstStyle/>
        <a:p>
          <a:endParaRPr lang="en-US"/>
        </a:p>
      </dgm:t>
    </dgm:pt>
    <dgm:pt modelId="{0F86FEEA-DD9C-43CA-ADC4-AE6DAD16A3FA}" type="sibTrans" cxnId="{817E7338-E4B4-4B1B-9FCB-F864F0903D65}">
      <dgm:prSet/>
      <dgm:spPr/>
      <dgm:t>
        <a:bodyPr/>
        <a:lstStyle/>
        <a:p>
          <a:endParaRPr lang="en-US"/>
        </a:p>
      </dgm:t>
    </dgm:pt>
    <dgm:pt modelId="{8B175D2D-BA8E-4E3E-A4E4-35DFBC919F69}">
      <dgm:prSet phldrT="[Text]"/>
      <dgm:spPr/>
      <dgm:t>
        <a:bodyPr/>
        <a:lstStyle/>
        <a:p>
          <a:pPr algn="just">
            <a:lnSpc>
              <a:spcPct val="150000"/>
            </a:lnSpc>
          </a:pPr>
          <a:r>
            <a:rPr lang="en-US" dirty="0"/>
            <a:t>Network architects or developers can create virtual machines on demand from a library of preexisting VM images</a:t>
          </a:r>
        </a:p>
      </dgm:t>
    </dgm:pt>
    <dgm:pt modelId="{6525F6CA-5D8B-4858-B8F7-A449B33CB4BC}" type="parTrans" cxnId="{F77C33EF-1249-45A4-841A-F78D07DE6903}">
      <dgm:prSet/>
      <dgm:spPr/>
      <dgm:t>
        <a:bodyPr/>
        <a:lstStyle/>
        <a:p>
          <a:endParaRPr lang="en-US"/>
        </a:p>
      </dgm:t>
    </dgm:pt>
    <dgm:pt modelId="{D5C85384-19CA-4F01-87E9-9E4DBA95EC98}" type="sibTrans" cxnId="{F77C33EF-1249-45A4-841A-F78D07DE6903}">
      <dgm:prSet/>
      <dgm:spPr/>
      <dgm:t>
        <a:bodyPr/>
        <a:lstStyle/>
        <a:p>
          <a:endParaRPr lang="en-US"/>
        </a:p>
      </dgm:t>
    </dgm:pt>
    <dgm:pt modelId="{352A4188-0908-4F56-ABB0-4DD795C46D96}">
      <dgm:prSet phldrT="[Text]"/>
      <dgm:spPr/>
      <dgm:t>
        <a:bodyPr/>
        <a:lstStyle/>
        <a:p>
          <a:pPr algn="just">
            <a:lnSpc>
              <a:spcPct val="150000"/>
            </a:lnSpc>
          </a:pPr>
          <a:r>
            <a:rPr lang="en-US" dirty="0"/>
            <a:t>Network architects or developers need to manage VM's and DBMS and configure the load balancers </a:t>
          </a:r>
        </a:p>
      </dgm:t>
    </dgm:pt>
    <dgm:pt modelId="{CF4B0B92-D3A1-4137-A693-A9B160D96B1D}" type="parTrans" cxnId="{B34EFE6D-751F-46CD-BED4-8DE866C11874}">
      <dgm:prSet/>
      <dgm:spPr/>
      <dgm:t>
        <a:bodyPr/>
        <a:lstStyle/>
        <a:p>
          <a:endParaRPr lang="en-US"/>
        </a:p>
      </dgm:t>
    </dgm:pt>
    <dgm:pt modelId="{E9B33277-6CD3-4F79-84C6-EF5F16D47A27}" type="sibTrans" cxnId="{B34EFE6D-751F-46CD-BED4-8DE866C11874}">
      <dgm:prSet/>
      <dgm:spPr/>
      <dgm:t>
        <a:bodyPr/>
        <a:lstStyle/>
        <a:p>
          <a:endParaRPr lang="en-US"/>
        </a:p>
      </dgm:t>
    </dgm:pt>
    <dgm:pt modelId="{75D6754A-9216-4A0B-A3D6-9FF18C067D28}">
      <dgm:prSet phldrT="[Text]"/>
      <dgm:spPr/>
      <dgm:t>
        <a:bodyPr/>
        <a:lstStyle/>
        <a:p>
          <a:r>
            <a:rPr lang="en-US" b="1" dirty="0"/>
            <a:t>PaaS</a:t>
          </a:r>
        </a:p>
      </dgm:t>
    </dgm:pt>
    <dgm:pt modelId="{D1A05DA7-AB12-4622-9CD6-C106583E42FE}" type="parTrans" cxnId="{3829F3EF-C64D-423C-821E-C8F61BA53853}">
      <dgm:prSet/>
      <dgm:spPr/>
      <dgm:t>
        <a:bodyPr/>
        <a:lstStyle/>
        <a:p>
          <a:endParaRPr lang="en-US"/>
        </a:p>
      </dgm:t>
    </dgm:pt>
    <dgm:pt modelId="{975FBF86-4388-4AF0-96A1-B372EA01C9C9}" type="sibTrans" cxnId="{3829F3EF-C64D-423C-821E-C8F61BA53853}">
      <dgm:prSet/>
      <dgm:spPr/>
      <dgm:t>
        <a:bodyPr/>
        <a:lstStyle/>
        <a:p>
          <a:endParaRPr lang="en-US"/>
        </a:p>
      </dgm:t>
    </dgm:pt>
    <dgm:pt modelId="{A0332AE9-6E8E-483A-B7BB-4846801A03DF}">
      <dgm:prSet phldrT="[Text]"/>
      <dgm:spPr/>
      <dgm:t>
        <a:bodyPr/>
        <a:lstStyle/>
        <a:p>
          <a:pPr algn="just">
            <a:lnSpc>
              <a:spcPct val="150000"/>
            </a:lnSpc>
          </a:pPr>
          <a:r>
            <a:rPr lang="en-US" dirty="0"/>
            <a:t>Developers don't create VMs directly rather they provide an application to platform with the platform then runs</a:t>
          </a:r>
        </a:p>
      </dgm:t>
    </dgm:pt>
    <dgm:pt modelId="{627E5FEB-327E-44B2-8678-5AA4D8E698C0}" type="parTrans" cxnId="{7B76C053-7470-454D-8676-38E4D8970EC2}">
      <dgm:prSet/>
      <dgm:spPr/>
      <dgm:t>
        <a:bodyPr/>
        <a:lstStyle/>
        <a:p>
          <a:endParaRPr lang="en-US"/>
        </a:p>
      </dgm:t>
    </dgm:pt>
    <dgm:pt modelId="{A9C7F7DD-91D4-447B-A298-B5E7E189AE6C}" type="sibTrans" cxnId="{7B76C053-7470-454D-8676-38E4D8970EC2}">
      <dgm:prSet/>
      <dgm:spPr/>
      <dgm:t>
        <a:bodyPr/>
        <a:lstStyle/>
        <a:p>
          <a:endParaRPr lang="en-US"/>
        </a:p>
      </dgm:t>
    </dgm:pt>
    <dgm:pt modelId="{FBE66177-C437-4A15-85FF-F52F1C862071}">
      <dgm:prSet phldrT="[Text]"/>
      <dgm:spPr/>
      <dgm:t>
        <a:bodyPr/>
        <a:lstStyle/>
        <a:p>
          <a:pPr algn="just">
            <a:lnSpc>
              <a:spcPct val="150000"/>
            </a:lnSpc>
          </a:pPr>
          <a:r>
            <a:rPr lang="en-US" dirty="0"/>
            <a:t>It's like a pre-existing application platform so that developers just need to create database , add data and deploy the application, no need to manage  VM's </a:t>
          </a:r>
        </a:p>
      </dgm:t>
    </dgm:pt>
    <dgm:pt modelId="{94DB2EFF-0966-4C27-B4FF-68ED527E0359}" type="parTrans" cxnId="{08BEECC4-3C64-4B0E-A02F-7226B6A69EAB}">
      <dgm:prSet/>
      <dgm:spPr/>
      <dgm:t>
        <a:bodyPr/>
        <a:lstStyle/>
        <a:p>
          <a:endParaRPr lang="en-US"/>
        </a:p>
      </dgm:t>
    </dgm:pt>
    <dgm:pt modelId="{762B4036-16D6-440A-ADB9-9B8532D82E16}" type="sibTrans" cxnId="{08BEECC4-3C64-4B0E-A02F-7226B6A69EAB}">
      <dgm:prSet/>
      <dgm:spPr/>
      <dgm:t>
        <a:bodyPr/>
        <a:lstStyle/>
        <a:p>
          <a:endParaRPr lang="en-US"/>
        </a:p>
      </dgm:t>
    </dgm:pt>
    <dgm:pt modelId="{673A9CE4-4BC2-48BD-8311-A96F260367E9}">
      <dgm:prSet/>
      <dgm:spPr/>
      <dgm:t>
        <a:bodyPr/>
        <a:lstStyle/>
        <a:p>
          <a:pPr algn="l">
            <a:lnSpc>
              <a:spcPct val="90000"/>
            </a:lnSpc>
          </a:pPr>
          <a:endParaRPr lang="en-US" dirty="0"/>
        </a:p>
      </dgm:t>
    </dgm:pt>
    <dgm:pt modelId="{9BBFF899-40BB-4882-B331-C94E21AFCCC8}" type="parTrans" cxnId="{4213134E-6859-4AFF-96F2-5CC69B674011}">
      <dgm:prSet/>
      <dgm:spPr/>
      <dgm:t>
        <a:bodyPr/>
        <a:lstStyle/>
        <a:p>
          <a:endParaRPr lang="en-US"/>
        </a:p>
      </dgm:t>
    </dgm:pt>
    <dgm:pt modelId="{3FC5F8DA-0465-4C10-A3BC-80F5A5F94592}" type="sibTrans" cxnId="{4213134E-6859-4AFF-96F2-5CC69B674011}">
      <dgm:prSet/>
      <dgm:spPr/>
      <dgm:t>
        <a:bodyPr/>
        <a:lstStyle/>
        <a:p>
          <a:endParaRPr lang="en-US"/>
        </a:p>
      </dgm:t>
    </dgm:pt>
    <dgm:pt modelId="{2F18772F-C3F5-4C1D-AA2F-ADEEC3A81295}" type="pres">
      <dgm:prSet presAssocID="{90947D75-577A-4510-9948-CDA9502E6DCE}" presName="Name0" presStyleCnt="0">
        <dgm:presLayoutVars>
          <dgm:dir/>
          <dgm:animLvl val="lvl"/>
          <dgm:resizeHandles val="exact"/>
        </dgm:presLayoutVars>
      </dgm:prSet>
      <dgm:spPr/>
    </dgm:pt>
    <dgm:pt modelId="{EEDF52BE-C0FA-4F5E-8053-1D0D23EE35AF}" type="pres">
      <dgm:prSet presAssocID="{43F79373-1C65-4D82-B0AD-A42A6FA6E686}" presName="composite" presStyleCnt="0"/>
      <dgm:spPr/>
    </dgm:pt>
    <dgm:pt modelId="{838C5BC9-F449-46B7-B9D9-DDAA761AEE0E}" type="pres">
      <dgm:prSet presAssocID="{43F79373-1C65-4D82-B0AD-A42A6FA6E686}" presName="parTx" presStyleLbl="alignNode1" presStyleIdx="0" presStyleCnt="2">
        <dgm:presLayoutVars>
          <dgm:chMax val="0"/>
          <dgm:chPref val="0"/>
          <dgm:bulletEnabled val="1"/>
        </dgm:presLayoutVars>
      </dgm:prSet>
      <dgm:spPr/>
    </dgm:pt>
    <dgm:pt modelId="{23DB2A27-802F-4100-876B-BC7A105E93E2}" type="pres">
      <dgm:prSet presAssocID="{43F79373-1C65-4D82-B0AD-A42A6FA6E686}" presName="desTx" presStyleLbl="alignAccFollowNode1" presStyleIdx="0" presStyleCnt="2">
        <dgm:presLayoutVars>
          <dgm:bulletEnabled val="1"/>
        </dgm:presLayoutVars>
      </dgm:prSet>
      <dgm:spPr/>
    </dgm:pt>
    <dgm:pt modelId="{ABD3303B-FE9E-48EF-9AB2-E973C92697DA}" type="pres">
      <dgm:prSet presAssocID="{0F86FEEA-DD9C-43CA-ADC4-AE6DAD16A3FA}" presName="space" presStyleCnt="0"/>
      <dgm:spPr/>
    </dgm:pt>
    <dgm:pt modelId="{BE275013-4735-4D6D-8769-337854C029E5}" type="pres">
      <dgm:prSet presAssocID="{75D6754A-9216-4A0B-A3D6-9FF18C067D28}" presName="composite" presStyleCnt="0"/>
      <dgm:spPr/>
    </dgm:pt>
    <dgm:pt modelId="{45E044B4-25A6-4362-9126-E43D8C0DCF4C}" type="pres">
      <dgm:prSet presAssocID="{75D6754A-9216-4A0B-A3D6-9FF18C067D28}" presName="parTx" presStyleLbl="alignNode1" presStyleIdx="1" presStyleCnt="2">
        <dgm:presLayoutVars>
          <dgm:chMax val="0"/>
          <dgm:chPref val="0"/>
          <dgm:bulletEnabled val="1"/>
        </dgm:presLayoutVars>
      </dgm:prSet>
      <dgm:spPr/>
    </dgm:pt>
    <dgm:pt modelId="{048F8F3E-96F5-45FA-BD74-F61E649D927C}" type="pres">
      <dgm:prSet presAssocID="{75D6754A-9216-4A0B-A3D6-9FF18C067D28}" presName="desTx" presStyleLbl="alignAccFollowNode1" presStyleIdx="1" presStyleCnt="2">
        <dgm:presLayoutVars>
          <dgm:bulletEnabled val="1"/>
        </dgm:presLayoutVars>
      </dgm:prSet>
      <dgm:spPr/>
    </dgm:pt>
  </dgm:ptLst>
  <dgm:cxnLst>
    <dgm:cxn modelId="{680D0D21-84A2-4999-A9FA-2B13CC4AE6B6}" type="presOf" srcId="{90947D75-577A-4510-9948-CDA9502E6DCE}" destId="{2F18772F-C3F5-4C1D-AA2F-ADEEC3A81295}" srcOrd="0" destOrd="0" presId="urn:microsoft.com/office/officeart/2005/8/layout/hList1"/>
    <dgm:cxn modelId="{D8AA8E2F-E732-4012-891A-BE52AA4D20B8}" type="presOf" srcId="{A0332AE9-6E8E-483A-B7BB-4846801A03DF}" destId="{048F8F3E-96F5-45FA-BD74-F61E649D927C}" srcOrd="0" destOrd="0" presId="urn:microsoft.com/office/officeart/2005/8/layout/hList1"/>
    <dgm:cxn modelId="{8DBCCB37-3461-4305-8869-6C0D25957E82}" type="presOf" srcId="{75D6754A-9216-4A0B-A3D6-9FF18C067D28}" destId="{45E044B4-25A6-4362-9126-E43D8C0DCF4C}" srcOrd="0" destOrd="0" presId="urn:microsoft.com/office/officeart/2005/8/layout/hList1"/>
    <dgm:cxn modelId="{817E7338-E4B4-4B1B-9FCB-F864F0903D65}" srcId="{90947D75-577A-4510-9948-CDA9502E6DCE}" destId="{43F79373-1C65-4D82-B0AD-A42A6FA6E686}" srcOrd="0" destOrd="0" parTransId="{3AA34893-340F-44EE-946A-3C409C095C03}" sibTransId="{0F86FEEA-DD9C-43CA-ADC4-AE6DAD16A3FA}"/>
    <dgm:cxn modelId="{EE6E063E-0977-4821-8003-34C9A82B7C2A}" type="presOf" srcId="{43F79373-1C65-4D82-B0AD-A42A6FA6E686}" destId="{838C5BC9-F449-46B7-B9D9-DDAA761AEE0E}" srcOrd="0" destOrd="0" presId="urn:microsoft.com/office/officeart/2005/8/layout/hList1"/>
    <dgm:cxn modelId="{53771846-8FF5-4857-AAFD-1BB12813DF8B}" type="presOf" srcId="{352A4188-0908-4F56-ABB0-4DD795C46D96}" destId="{23DB2A27-802F-4100-876B-BC7A105E93E2}" srcOrd="0" destOrd="1" presId="urn:microsoft.com/office/officeart/2005/8/layout/hList1"/>
    <dgm:cxn modelId="{B34EFE6D-751F-46CD-BED4-8DE866C11874}" srcId="{43F79373-1C65-4D82-B0AD-A42A6FA6E686}" destId="{352A4188-0908-4F56-ABB0-4DD795C46D96}" srcOrd="1" destOrd="0" parTransId="{CF4B0B92-D3A1-4137-A693-A9B160D96B1D}" sibTransId="{E9B33277-6CD3-4F79-84C6-EF5F16D47A27}"/>
    <dgm:cxn modelId="{4213134E-6859-4AFF-96F2-5CC69B674011}" srcId="{75D6754A-9216-4A0B-A3D6-9FF18C067D28}" destId="{673A9CE4-4BC2-48BD-8311-A96F260367E9}" srcOrd="2" destOrd="0" parTransId="{9BBFF899-40BB-4882-B331-C94E21AFCCC8}" sibTransId="{3FC5F8DA-0465-4C10-A3BC-80F5A5F94592}"/>
    <dgm:cxn modelId="{7B76C053-7470-454D-8676-38E4D8970EC2}" srcId="{75D6754A-9216-4A0B-A3D6-9FF18C067D28}" destId="{A0332AE9-6E8E-483A-B7BB-4846801A03DF}" srcOrd="0" destOrd="0" parTransId="{627E5FEB-327E-44B2-8678-5AA4D8E698C0}" sibTransId="{A9C7F7DD-91D4-447B-A298-B5E7E189AE6C}"/>
    <dgm:cxn modelId="{BC7F7685-DE13-403C-954C-3972FE074904}" type="presOf" srcId="{8B175D2D-BA8E-4E3E-A4E4-35DFBC919F69}" destId="{23DB2A27-802F-4100-876B-BC7A105E93E2}" srcOrd="0" destOrd="0" presId="urn:microsoft.com/office/officeart/2005/8/layout/hList1"/>
    <dgm:cxn modelId="{0A356CB4-E041-4EFA-A504-8DBE6B14DB38}" type="presOf" srcId="{FBE66177-C437-4A15-85FF-F52F1C862071}" destId="{048F8F3E-96F5-45FA-BD74-F61E649D927C}" srcOrd="0" destOrd="1" presId="urn:microsoft.com/office/officeart/2005/8/layout/hList1"/>
    <dgm:cxn modelId="{521C7CBE-2413-456D-9BC7-3E7296981C83}" type="presOf" srcId="{673A9CE4-4BC2-48BD-8311-A96F260367E9}" destId="{048F8F3E-96F5-45FA-BD74-F61E649D927C}" srcOrd="0" destOrd="2" presId="urn:microsoft.com/office/officeart/2005/8/layout/hList1"/>
    <dgm:cxn modelId="{08BEECC4-3C64-4B0E-A02F-7226B6A69EAB}" srcId="{75D6754A-9216-4A0B-A3D6-9FF18C067D28}" destId="{FBE66177-C437-4A15-85FF-F52F1C862071}" srcOrd="1" destOrd="0" parTransId="{94DB2EFF-0966-4C27-B4FF-68ED527E0359}" sibTransId="{762B4036-16D6-440A-ADB9-9B8532D82E16}"/>
    <dgm:cxn modelId="{F77C33EF-1249-45A4-841A-F78D07DE6903}" srcId="{43F79373-1C65-4D82-B0AD-A42A6FA6E686}" destId="{8B175D2D-BA8E-4E3E-A4E4-35DFBC919F69}" srcOrd="0" destOrd="0" parTransId="{6525F6CA-5D8B-4858-B8F7-A449B33CB4BC}" sibTransId="{D5C85384-19CA-4F01-87E9-9E4DBA95EC98}"/>
    <dgm:cxn modelId="{3829F3EF-C64D-423C-821E-C8F61BA53853}" srcId="{90947D75-577A-4510-9948-CDA9502E6DCE}" destId="{75D6754A-9216-4A0B-A3D6-9FF18C067D28}" srcOrd="1" destOrd="0" parTransId="{D1A05DA7-AB12-4622-9CD6-C106583E42FE}" sibTransId="{975FBF86-4388-4AF0-96A1-B372EA01C9C9}"/>
    <dgm:cxn modelId="{A094BF58-924F-4771-BD9A-F2ED4325C9DD}" type="presParOf" srcId="{2F18772F-C3F5-4C1D-AA2F-ADEEC3A81295}" destId="{EEDF52BE-C0FA-4F5E-8053-1D0D23EE35AF}" srcOrd="0" destOrd="0" presId="urn:microsoft.com/office/officeart/2005/8/layout/hList1"/>
    <dgm:cxn modelId="{267EC64F-B765-4124-ABE7-3C4CCFBCCCCE}" type="presParOf" srcId="{EEDF52BE-C0FA-4F5E-8053-1D0D23EE35AF}" destId="{838C5BC9-F449-46B7-B9D9-DDAA761AEE0E}" srcOrd="0" destOrd="0" presId="urn:microsoft.com/office/officeart/2005/8/layout/hList1"/>
    <dgm:cxn modelId="{BFCEB0D2-92BF-4056-8DB5-A374519A8969}" type="presParOf" srcId="{EEDF52BE-C0FA-4F5E-8053-1D0D23EE35AF}" destId="{23DB2A27-802F-4100-876B-BC7A105E93E2}" srcOrd="1" destOrd="0" presId="urn:microsoft.com/office/officeart/2005/8/layout/hList1"/>
    <dgm:cxn modelId="{65BE0BD1-F6F8-4CF8-9859-3FE9FF64B2AE}" type="presParOf" srcId="{2F18772F-C3F5-4C1D-AA2F-ADEEC3A81295}" destId="{ABD3303B-FE9E-48EF-9AB2-E973C92697DA}" srcOrd="1" destOrd="0" presId="urn:microsoft.com/office/officeart/2005/8/layout/hList1"/>
    <dgm:cxn modelId="{944865B7-DD95-45A7-BB0D-84538EAC5D6B}" type="presParOf" srcId="{2F18772F-C3F5-4C1D-AA2F-ADEEC3A81295}" destId="{BE275013-4735-4D6D-8769-337854C029E5}" srcOrd="2" destOrd="0" presId="urn:microsoft.com/office/officeart/2005/8/layout/hList1"/>
    <dgm:cxn modelId="{5C92BD83-53CE-4941-B6BC-AB039401F543}" type="presParOf" srcId="{BE275013-4735-4D6D-8769-337854C029E5}" destId="{45E044B4-25A6-4362-9126-E43D8C0DCF4C}" srcOrd="0" destOrd="0" presId="urn:microsoft.com/office/officeart/2005/8/layout/hList1"/>
    <dgm:cxn modelId="{14CEB437-AD96-440B-8417-7EE15D8D1DB9}" type="presParOf" srcId="{BE275013-4735-4D6D-8769-337854C029E5}" destId="{048F8F3E-96F5-45FA-BD74-F61E649D927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4F535B0-3EC7-40EE-84CA-EAB983C14F56}" type="doc">
      <dgm:prSet loTypeId="urn:microsoft.com/office/officeart/2008/layout/VerticalCurvedList"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Full Control</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Can run anything inside VM</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Pay-as-you-go</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D66A9135-5DD2-4139-9194-500C9E579BEE}">
      <dgm:prSet phldrT="[Text]"/>
      <dgm:spPr/>
      <dgm:t>
        <a:bodyPr/>
        <a:lstStyle/>
        <a:p>
          <a:r>
            <a:rPr lang="en-US" dirty="0"/>
            <a:t>Easier Maintenance</a:t>
          </a:r>
        </a:p>
      </dgm:t>
    </dgm:pt>
    <dgm:pt modelId="{DA726E0C-CA3D-4F2C-99A2-D868332BB8A6}" type="parTrans" cxnId="{E5B85899-9A64-4E75-98F9-23D14B47DF15}">
      <dgm:prSet/>
      <dgm:spPr/>
      <dgm:t>
        <a:bodyPr/>
        <a:lstStyle/>
        <a:p>
          <a:endParaRPr lang="en-US"/>
        </a:p>
      </dgm:t>
    </dgm:pt>
    <dgm:pt modelId="{967666E5-7431-4390-9B3B-A7ECC3286F8D}" type="sibTrans" cxnId="{E5B85899-9A64-4E75-98F9-23D14B47DF15}">
      <dgm:prSet/>
      <dgm:spPr/>
      <dgm:t>
        <a:bodyPr/>
        <a:lstStyle/>
        <a:p>
          <a:endParaRPr lang="en-US"/>
        </a:p>
      </dgm:t>
    </dgm:pt>
    <dgm:pt modelId="{E400D73B-F66C-4EBB-B445-94EC080226A8}" type="pres">
      <dgm:prSet presAssocID="{94F535B0-3EC7-40EE-84CA-EAB983C14F56}" presName="Name0" presStyleCnt="0">
        <dgm:presLayoutVars>
          <dgm:chMax val="7"/>
          <dgm:chPref val="7"/>
          <dgm:dir/>
        </dgm:presLayoutVars>
      </dgm:prSet>
      <dgm:spPr/>
    </dgm:pt>
    <dgm:pt modelId="{9FE08A1B-000F-4C2F-B56E-33F22A8E56F0}" type="pres">
      <dgm:prSet presAssocID="{94F535B0-3EC7-40EE-84CA-EAB983C14F56}" presName="Name1" presStyleCnt="0"/>
      <dgm:spPr/>
    </dgm:pt>
    <dgm:pt modelId="{952C3788-D4D6-44CF-9C40-9F39ECDD5241}" type="pres">
      <dgm:prSet presAssocID="{94F535B0-3EC7-40EE-84CA-EAB983C14F56}" presName="cycle" presStyleCnt="0"/>
      <dgm:spPr/>
    </dgm:pt>
    <dgm:pt modelId="{337EDD91-4A34-4014-8D09-CC1B5AA87C9B}" type="pres">
      <dgm:prSet presAssocID="{94F535B0-3EC7-40EE-84CA-EAB983C14F56}" presName="srcNode" presStyleLbl="node1" presStyleIdx="0" presStyleCnt="4"/>
      <dgm:spPr/>
    </dgm:pt>
    <dgm:pt modelId="{4D91C14F-1159-4419-99D2-22A26F86EF16}" type="pres">
      <dgm:prSet presAssocID="{94F535B0-3EC7-40EE-84CA-EAB983C14F56}" presName="conn" presStyleLbl="parChTrans1D2" presStyleIdx="0" presStyleCnt="1"/>
      <dgm:spPr/>
    </dgm:pt>
    <dgm:pt modelId="{A1EFA168-C25D-456E-B38A-93C011986D0E}" type="pres">
      <dgm:prSet presAssocID="{94F535B0-3EC7-40EE-84CA-EAB983C14F56}" presName="extraNode" presStyleLbl="node1" presStyleIdx="0" presStyleCnt="4"/>
      <dgm:spPr/>
    </dgm:pt>
    <dgm:pt modelId="{9329EABD-E8F3-46D9-86DB-B416B7F42298}" type="pres">
      <dgm:prSet presAssocID="{94F535B0-3EC7-40EE-84CA-EAB983C14F56}" presName="dstNode" presStyleLbl="node1" presStyleIdx="0" presStyleCnt="4"/>
      <dgm:spPr/>
    </dgm:pt>
    <dgm:pt modelId="{2D89B64C-BFAC-4AA1-BB04-587A902CFE6E}" type="pres">
      <dgm:prSet presAssocID="{A6212DA1-0577-4879-BC48-6FD756139E40}" presName="text_1" presStyleLbl="node1" presStyleIdx="0" presStyleCnt="4">
        <dgm:presLayoutVars>
          <dgm:bulletEnabled val="1"/>
        </dgm:presLayoutVars>
      </dgm:prSet>
      <dgm:spPr/>
    </dgm:pt>
    <dgm:pt modelId="{83E3955B-7841-42C4-9B8F-14E2B98D61F0}" type="pres">
      <dgm:prSet presAssocID="{A6212DA1-0577-4879-BC48-6FD756139E40}" presName="accent_1" presStyleCnt="0"/>
      <dgm:spPr/>
    </dgm:pt>
    <dgm:pt modelId="{495578B1-41E9-461D-A772-FD417989853D}" type="pres">
      <dgm:prSet presAssocID="{A6212DA1-0577-4879-BC48-6FD756139E40}" presName="accentRepeatNode" presStyleLbl="solidFgAcc1" presStyleIdx="0" presStyleCnt="4"/>
      <dgm:spPr/>
    </dgm:pt>
    <dgm:pt modelId="{F426B5C4-8FFF-418A-B071-D0C9CF529949}" type="pres">
      <dgm:prSet presAssocID="{918BD176-E82B-43DD-ACF5-EC4614571D6F}" presName="text_2" presStyleLbl="node1" presStyleIdx="1" presStyleCnt="4">
        <dgm:presLayoutVars>
          <dgm:bulletEnabled val="1"/>
        </dgm:presLayoutVars>
      </dgm:prSet>
      <dgm:spPr/>
    </dgm:pt>
    <dgm:pt modelId="{861557FA-2ED9-49DA-AB8A-D7DF88C6662D}" type="pres">
      <dgm:prSet presAssocID="{918BD176-E82B-43DD-ACF5-EC4614571D6F}" presName="accent_2" presStyleCnt="0"/>
      <dgm:spPr/>
    </dgm:pt>
    <dgm:pt modelId="{FC83BC77-C0E9-48F0-BE7A-5486B8B87C68}" type="pres">
      <dgm:prSet presAssocID="{918BD176-E82B-43DD-ACF5-EC4614571D6F}" presName="accentRepeatNode" presStyleLbl="solidFgAcc1" presStyleIdx="1" presStyleCnt="4"/>
      <dgm:spPr/>
    </dgm:pt>
    <dgm:pt modelId="{6C910478-2ED3-479F-823B-A4FC35F35683}" type="pres">
      <dgm:prSet presAssocID="{6F2D8C25-FB94-4C97-AD7A-91AF5DE78104}" presName="text_3" presStyleLbl="node1" presStyleIdx="2" presStyleCnt="4">
        <dgm:presLayoutVars>
          <dgm:bulletEnabled val="1"/>
        </dgm:presLayoutVars>
      </dgm:prSet>
      <dgm:spPr/>
    </dgm:pt>
    <dgm:pt modelId="{D545C6E6-049D-469B-A345-68F79EBAD573}" type="pres">
      <dgm:prSet presAssocID="{6F2D8C25-FB94-4C97-AD7A-91AF5DE78104}" presName="accent_3" presStyleCnt="0"/>
      <dgm:spPr/>
    </dgm:pt>
    <dgm:pt modelId="{7412A93B-5992-43F8-B89D-7A5CAD4A0A77}" type="pres">
      <dgm:prSet presAssocID="{6F2D8C25-FB94-4C97-AD7A-91AF5DE78104}" presName="accentRepeatNode" presStyleLbl="solidFgAcc1" presStyleIdx="2" presStyleCnt="4"/>
      <dgm:spPr/>
    </dgm:pt>
    <dgm:pt modelId="{DE0D3D03-531B-4E94-B03C-BBC24957CD19}" type="pres">
      <dgm:prSet presAssocID="{D66A9135-5DD2-4139-9194-500C9E579BEE}" presName="text_4" presStyleLbl="node1" presStyleIdx="3" presStyleCnt="4">
        <dgm:presLayoutVars>
          <dgm:bulletEnabled val="1"/>
        </dgm:presLayoutVars>
      </dgm:prSet>
      <dgm:spPr/>
    </dgm:pt>
    <dgm:pt modelId="{19BF1DAB-97AA-474C-B9EF-01CBA0B1F418}" type="pres">
      <dgm:prSet presAssocID="{D66A9135-5DD2-4139-9194-500C9E579BEE}" presName="accent_4" presStyleCnt="0"/>
      <dgm:spPr/>
    </dgm:pt>
    <dgm:pt modelId="{9A299449-F6C3-42DE-9440-199CA6A32B72}" type="pres">
      <dgm:prSet presAssocID="{D66A9135-5DD2-4139-9194-500C9E579BEE}" presName="accentRepeatNode" presStyleLbl="solidFgAcc1" presStyleIdx="3" presStyleCnt="4"/>
      <dgm:spPr/>
    </dgm:pt>
  </dgm:ptLst>
  <dgm:cxnLst>
    <dgm:cxn modelId="{9FA24B06-EB5F-4209-B498-6917C750CD97}" srcId="{94F535B0-3EC7-40EE-84CA-EAB983C14F56}" destId="{A6212DA1-0577-4879-BC48-6FD756139E40}" srcOrd="0" destOrd="0" parTransId="{9EB2B6EA-ACE8-4DC9-ABC0-8614FCA3DAEA}" sibTransId="{E8E1801F-A179-4C3B-956E-23AC065A5A35}"/>
    <dgm:cxn modelId="{8C35F334-7F46-4A90-9294-529ADA83E793}" srcId="{94F535B0-3EC7-40EE-84CA-EAB983C14F56}" destId="{6F2D8C25-FB94-4C97-AD7A-91AF5DE78104}" srcOrd="2" destOrd="0" parTransId="{3C5929E6-2113-4814-9F8E-394FD3447C21}" sibTransId="{89373D55-CDFE-49EF-A102-31E5CE8E5B0E}"/>
    <dgm:cxn modelId="{E7DEB952-D4BD-4785-9E63-D160233F3C61}" type="presOf" srcId="{918BD176-E82B-43DD-ACF5-EC4614571D6F}" destId="{F426B5C4-8FFF-418A-B071-D0C9CF529949}" srcOrd="0" destOrd="0" presId="urn:microsoft.com/office/officeart/2008/layout/VerticalCurvedList"/>
    <dgm:cxn modelId="{CBDBCB75-1738-4831-A815-102EF3A74B6B}" srcId="{94F535B0-3EC7-40EE-84CA-EAB983C14F56}" destId="{918BD176-E82B-43DD-ACF5-EC4614571D6F}" srcOrd="1" destOrd="0" parTransId="{A601F90A-5D46-4027-8BB9-DEA46DB30144}" sibTransId="{748C5FBA-908F-45C4-B87B-85EB132D5D1C}"/>
    <dgm:cxn modelId="{CF6DE582-8B65-47FB-9AAC-62F6743BC0CF}" type="presOf" srcId="{D66A9135-5DD2-4139-9194-500C9E579BEE}" destId="{DE0D3D03-531B-4E94-B03C-BBC24957CD19}" srcOrd="0" destOrd="0" presId="urn:microsoft.com/office/officeart/2008/layout/VerticalCurvedList"/>
    <dgm:cxn modelId="{E5B85899-9A64-4E75-98F9-23D14B47DF15}" srcId="{94F535B0-3EC7-40EE-84CA-EAB983C14F56}" destId="{D66A9135-5DD2-4139-9194-500C9E579BEE}" srcOrd="3" destOrd="0" parTransId="{DA726E0C-CA3D-4F2C-99A2-D868332BB8A6}" sibTransId="{967666E5-7431-4390-9B3B-A7ECC3286F8D}"/>
    <dgm:cxn modelId="{FD5921A0-4E20-45B8-83BB-551B30989708}" type="presOf" srcId="{A6212DA1-0577-4879-BC48-6FD756139E40}" destId="{2D89B64C-BFAC-4AA1-BB04-587A902CFE6E}" srcOrd="0" destOrd="0" presId="urn:microsoft.com/office/officeart/2008/layout/VerticalCurvedList"/>
    <dgm:cxn modelId="{7D12D6B6-8BA2-4104-96D9-34B26452D54B}" type="presOf" srcId="{6F2D8C25-FB94-4C97-AD7A-91AF5DE78104}" destId="{6C910478-2ED3-479F-823B-A4FC35F35683}" srcOrd="0" destOrd="0" presId="urn:microsoft.com/office/officeart/2008/layout/VerticalCurvedList"/>
    <dgm:cxn modelId="{24543FFF-2EAD-4097-B5D5-7252416074AD}" type="presOf" srcId="{E8E1801F-A179-4C3B-956E-23AC065A5A35}" destId="{4D91C14F-1159-4419-99D2-22A26F86EF16}" srcOrd="0" destOrd="0" presId="urn:microsoft.com/office/officeart/2008/layout/VerticalCurvedList"/>
    <dgm:cxn modelId="{BD20A2FF-1B3E-479B-8D54-AE8DD286920D}" type="presOf" srcId="{94F535B0-3EC7-40EE-84CA-EAB983C14F56}" destId="{E400D73B-F66C-4EBB-B445-94EC080226A8}" srcOrd="0" destOrd="0" presId="urn:microsoft.com/office/officeart/2008/layout/VerticalCurvedList"/>
    <dgm:cxn modelId="{A5C5DEEE-3F0C-4FEB-B468-3C878C75553D}" type="presParOf" srcId="{E400D73B-F66C-4EBB-B445-94EC080226A8}" destId="{9FE08A1B-000F-4C2F-B56E-33F22A8E56F0}" srcOrd="0" destOrd="0" presId="urn:microsoft.com/office/officeart/2008/layout/VerticalCurvedList"/>
    <dgm:cxn modelId="{11B0F993-FD9F-4316-9A94-1928912CB158}" type="presParOf" srcId="{9FE08A1B-000F-4C2F-B56E-33F22A8E56F0}" destId="{952C3788-D4D6-44CF-9C40-9F39ECDD5241}" srcOrd="0" destOrd="0" presId="urn:microsoft.com/office/officeart/2008/layout/VerticalCurvedList"/>
    <dgm:cxn modelId="{2B1035AD-F005-4EFE-A923-5271FBC53398}" type="presParOf" srcId="{952C3788-D4D6-44CF-9C40-9F39ECDD5241}" destId="{337EDD91-4A34-4014-8D09-CC1B5AA87C9B}" srcOrd="0" destOrd="0" presId="urn:microsoft.com/office/officeart/2008/layout/VerticalCurvedList"/>
    <dgm:cxn modelId="{6FF1CBED-3B73-419C-AACD-16747614A28D}" type="presParOf" srcId="{952C3788-D4D6-44CF-9C40-9F39ECDD5241}" destId="{4D91C14F-1159-4419-99D2-22A26F86EF16}" srcOrd="1" destOrd="0" presId="urn:microsoft.com/office/officeart/2008/layout/VerticalCurvedList"/>
    <dgm:cxn modelId="{A01C533D-D96D-4D94-9008-62CCD81B5C9D}" type="presParOf" srcId="{952C3788-D4D6-44CF-9C40-9F39ECDD5241}" destId="{A1EFA168-C25D-456E-B38A-93C011986D0E}" srcOrd="2" destOrd="0" presId="urn:microsoft.com/office/officeart/2008/layout/VerticalCurvedList"/>
    <dgm:cxn modelId="{630C3F9D-F4AC-4A6C-979E-4F659E371899}" type="presParOf" srcId="{952C3788-D4D6-44CF-9C40-9F39ECDD5241}" destId="{9329EABD-E8F3-46D9-86DB-B416B7F42298}" srcOrd="3" destOrd="0" presId="urn:microsoft.com/office/officeart/2008/layout/VerticalCurvedList"/>
    <dgm:cxn modelId="{B2CE5EB4-D6A2-4914-8251-96D638C3C6FE}" type="presParOf" srcId="{9FE08A1B-000F-4C2F-B56E-33F22A8E56F0}" destId="{2D89B64C-BFAC-4AA1-BB04-587A902CFE6E}" srcOrd="1" destOrd="0" presId="urn:microsoft.com/office/officeart/2008/layout/VerticalCurvedList"/>
    <dgm:cxn modelId="{3CE26709-C17F-45A9-9262-40527C1CAE39}" type="presParOf" srcId="{9FE08A1B-000F-4C2F-B56E-33F22A8E56F0}" destId="{83E3955B-7841-42C4-9B8F-14E2B98D61F0}" srcOrd="2" destOrd="0" presId="urn:microsoft.com/office/officeart/2008/layout/VerticalCurvedList"/>
    <dgm:cxn modelId="{ADDAF338-00B5-4E83-B619-1F1FF42AB291}" type="presParOf" srcId="{83E3955B-7841-42C4-9B8F-14E2B98D61F0}" destId="{495578B1-41E9-461D-A772-FD417989853D}" srcOrd="0" destOrd="0" presId="urn:microsoft.com/office/officeart/2008/layout/VerticalCurvedList"/>
    <dgm:cxn modelId="{EFEDDC41-D6B2-4A69-AAB0-E94A99540E9E}" type="presParOf" srcId="{9FE08A1B-000F-4C2F-B56E-33F22A8E56F0}" destId="{F426B5C4-8FFF-418A-B071-D0C9CF529949}" srcOrd="3" destOrd="0" presId="urn:microsoft.com/office/officeart/2008/layout/VerticalCurvedList"/>
    <dgm:cxn modelId="{09760317-E397-446D-9F11-785B550CDD54}" type="presParOf" srcId="{9FE08A1B-000F-4C2F-B56E-33F22A8E56F0}" destId="{861557FA-2ED9-49DA-AB8A-D7DF88C6662D}" srcOrd="4" destOrd="0" presId="urn:microsoft.com/office/officeart/2008/layout/VerticalCurvedList"/>
    <dgm:cxn modelId="{868B0DDC-C0C6-4D10-885C-EB7C0B39B537}" type="presParOf" srcId="{861557FA-2ED9-49DA-AB8A-D7DF88C6662D}" destId="{FC83BC77-C0E9-48F0-BE7A-5486B8B87C68}" srcOrd="0" destOrd="0" presId="urn:microsoft.com/office/officeart/2008/layout/VerticalCurvedList"/>
    <dgm:cxn modelId="{D72FD2B2-6C36-4E4E-80F5-90BA5FB8CB35}" type="presParOf" srcId="{9FE08A1B-000F-4C2F-B56E-33F22A8E56F0}" destId="{6C910478-2ED3-479F-823B-A4FC35F35683}" srcOrd="5" destOrd="0" presId="urn:microsoft.com/office/officeart/2008/layout/VerticalCurvedList"/>
    <dgm:cxn modelId="{E59D26E7-8FD8-41B5-9BAC-28F94F49145A}" type="presParOf" srcId="{9FE08A1B-000F-4C2F-B56E-33F22A8E56F0}" destId="{D545C6E6-049D-469B-A345-68F79EBAD573}" srcOrd="6" destOrd="0" presId="urn:microsoft.com/office/officeart/2008/layout/VerticalCurvedList"/>
    <dgm:cxn modelId="{21E717FF-0FC4-4A6E-A49D-C75927F15DD1}" type="presParOf" srcId="{D545C6E6-049D-469B-A345-68F79EBAD573}" destId="{7412A93B-5992-43F8-B89D-7A5CAD4A0A77}" srcOrd="0" destOrd="0" presId="urn:microsoft.com/office/officeart/2008/layout/VerticalCurvedList"/>
    <dgm:cxn modelId="{A813354E-1A40-4743-9D0D-AD37C57FAF40}" type="presParOf" srcId="{9FE08A1B-000F-4C2F-B56E-33F22A8E56F0}" destId="{DE0D3D03-531B-4E94-B03C-BBC24957CD19}" srcOrd="7" destOrd="0" presId="urn:microsoft.com/office/officeart/2008/layout/VerticalCurvedList"/>
    <dgm:cxn modelId="{C1A375BD-60A6-44AE-9EF0-5AFEAB3762D5}" type="presParOf" srcId="{9FE08A1B-000F-4C2F-B56E-33F22A8E56F0}" destId="{19BF1DAB-97AA-474C-B9EF-01CBA0B1F418}" srcOrd="8" destOrd="0" presId="urn:microsoft.com/office/officeart/2008/layout/VerticalCurvedList"/>
    <dgm:cxn modelId="{264ABA21-2D49-43A3-B5BA-74F50155CBBC}" type="presParOf" srcId="{19BF1DAB-97AA-474C-B9EF-01CBA0B1F418}" destId="{9A299449-F6C3-42DE-9440-199CA6A32B7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4F535B0-3EC7-40EE-84CA-EAB983C14F56}" type="doc">
      <dgm:prSet loTypeId="urn:microsoft.com/office/officeart/2008/layout/VerticalAccentList"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Most expensive</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More responsibility</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570DF381-3875-444E-A01F-82EB97F08A78}" type="pres">
      <dgm:prSet presAssocID="{94F535B0-3EC7-40EE-84CA-EAB983C14F56}" presName="Name0" presStyleCnt="0">
        <dgm:presLayoutVars>
          <dgm:chMax/>
          <dgm:chPref/>
          <dgm:dir/>
        </dgm:presLayoutVars>
      </dgm:prSet>
      <dgm:spPr/>
    </dgm:pt>
    <dgm:pt modelId="{E7502D47-121A-4A50-BF0E-02EFE6FE4A74}" type="pres">
      <dgm:prSet presAssocID="{A6212DA1-0577-4879-BC48-6FD756139E40}" presName="parenttextcomposite" presStyleCnt="0"/>
      <dgm:spPr/>
    </dgm:pt>
    <dgm:pt modelId="{4D68F560-4B97-487B-84DB-96A8ADD769B2}" type="pres">
      <dgm:prSet presAssocID="{A6212DA1-0577-4879-BC48-6FD756139E40}" presName="parenttext" presStyleLbl="revTx" presStyleIdx="0" presStyleCnt="2">
        <dgm:presLayoutVars>
          <dgm:chMax/>
          <dgm:chPref val="2"/>
          <dgm:bulletEnabled val="1"/>
        </dgm:presLayoutVars>
      </dgm:prSet>
      <dgm:spPr/>
    </dgm:pt>
    <dgm:pt modelId="{695D45CE-8094-441B-9D6E-CD508E9E7801}" type="pres">
      <dgm:prSet presAssocID="{A6212DA1-0577-4879-BC48-6FD756139E40}" presName="parallelogramComposite" presStyleCnt="0"/>
      <dgm:spPr/>
    </dgm:pt>
    <dgm:pt modelId="{9A1CD9D9-750B-4F4F-9B04-CD9EAF98A833}" type="pres">
      <dgm:prSet presAssocID="{A6212DA1-0577-4879-BC48-6FD756139E40}" presName="parallelogram1" presStyleLbl="alignNode1" presStyleIdx="0" presStyleCnt="14"/>
      <dgm:spPr/>
    </dgm:pt>
    <dgm:pt modelId="{1408E809-F190-4574-8566-E644C1A8F160}" type="pres">
      <dgm:prSet presAssocID="{A6212DA1-0577-4879-BC48-6FD756139E40}" presName="parallelogram2" presStyleLbl="alignNode1" presStyleIdx="1" presStyleCnt="14"/>
      <dgm:spPr/>
    </dgm:pt>
    <dgm:pt modelId="{4C50135F-336F-42EC-95EB-0229BA4B822C}" type="pres">
      <dgm:prSet presAssocID="{A6212DA1-0577-4879-BC48-6FD756139E40}" presName="parallelogram3" presStyleLbl="alignNode1" presStyleIdx="2" presStyleCnt="14"/>
      <dgm:spPr/>
    </dgm:pt>
    <dgm:pt modelId="{F06D3DA6-41C7-4E3F-9668-B8035C9E7479}" type="pres">
      <dgm:prSet presAssocID="{A6212DA1-0577-4879-BC48-6FD756139E40}" presName="parallelogram4" presStyleLbl="alignNode1" presStyleIdx="3" presStyleCnt="14"/>
      <dgm:spPr/>
    </dgm:pt>
    <dgm:pt modelId="{39A4DC12-7B25-4686-A334-054B9AA8D154}" type="pres">
      <dgm:prSet presAssocID="{A6212DA1-0577-4879-BC48-6FD756139E40}" presName="parallelogram5" presStyleLbl="alignNode1" presStyleIdx="4" presStyleCnt="14"/>
      <dgm:spPr/>
    </dgm:pt>
    <dgm:pt modelId="{FA455300-7285-429D-A54A-673C05B710CC}" type="pres">
      <dgm:prSet presAssocID="{A6212DA1-0577-4879-BC48-6FD756139E40}" presName="parallelogram6" presStyleLbl="alignNode1" presStyleIdx="5" presStyleCnt="14"/>
      <dgm:spPr/>
    </dgm:pt>
    <dgm:pt modelId="{AA9F137B-52FA-4702-AC12-BA375C60538C}" type="pres">
      <dgm:prSet presAssocID="{A6212DA1-0577-4879-BC48-6FD756139E40}" presName="parallelogram7" presStyleLbl="alignNode1" presStyleIdx="6" presStyleCnt="14"/>
      <dgm:spPr/>
    </dgm:pt>
    <dgm:pt modelId="{6784E3B8-2789-4AA9-843C-2AFA193190B3}" type="pres">
      <dgm:prSet presAssocID="{E8E1801F-A179-4C3B-956E-23AC065A5A35}" presName="sibTrans" presStyleCnt="0"/>
      <dgm:spPr/>
    </dgm:pt>
    <dgm:pt modelId="{084DF776-3CF8-4A35-B5C0-2A3CD1911756}" type="pres">
      <dgm:prSet presAssocID="{918BD176-E82B-43DD-ACF5-EC4614571D6F}" presName="parenttextcomposite" presStyleCnt="0"/>
      <dgm:spPr/>
    </dgm:pt>
    <dgm:pt modelId="{ABB437BC-8901-48FC-9076-105F2B43510E}" type="pres">
      <dgm:prSet presAssocID="{918BD176-E82B-43DD-ACF5-EC4614571D6F}" presName="parenttext" presStyleLbl="revTx" presStyleIdx="1" presStyleCnt="2">
        <dgm:presLayoutVars>
          <dgm:chMax/>
          <dgm:chPref val="2"/>
          <dgm:bulletEnabled val="1"/>
        </dgm:presLayoutVars>
      </dgm:prSet>
      <dgm:spPr/>
    </dgm:pt>
    <dgm:pt modelId="{F52D9201-AF18-4D42-8660-837E89B07C71}" type="pres">
      <dgm:prSet presAssocID="{918BD176-E82B-43DD-ACF5-EC4614571D6F}" presName="parallelogramComposite" presStyleCnt="0"/>
      <dgm:spPr/>
    </dgm:pt>
    <dgm:pt modelId="{90FC1EC3-DEE6-4556-B4C8-B049B599FB42}" type="pres">
      <dgm:prSet presAssocID="{918BD176-E82B-43DD-ACF5-EC4614571D6F}" presName="parallelogram1" presStyleLbl="alignNode1" presStyleIdx="7" presStyleCnt="14"/>
      <dgm:spPr/>
    </dgm:pt>
    <dgm:pt modelId="{EB16AFA5-7CB1-4DB6-8F76-ADD862C3F086}" type="pres">
      <dgm:prSet presAssocID="{918BD176-E82B-43DD-ACF5-EC4614571D6F}" presName="parallelogram2" presStyleLbl="alignNode1" presStyleIdx="8" presStyleCnt="14"/>
      <dgm:spPr/>
    </dgm:pt>
    <dgm:pt modelId="{A2F25226-7237-4D8E-92BF-8D68ABC6FFB8}" type="pres">
      <dgm:prSet presAssocID="{918BD176-E82B-43DD-ACF5-EC4614571D6F}" presName="parallelogram3" presStyleLbl="alignNode1" presStyleIdx="9" presStyleCnt="14"/>
      <dgm:spPr/>
    </dgm:pt>
    <dgm:pt modelId="{19547312-D9F8-4350-86A1-1C040B38C29C}" type="pres">
      <dgm:prSet presAssocID="{918BD176-E82B-43DD-ACF5-EC4614571D6F}" presName="parallelogram4" presStyleLbl="alignNode1" presStyleIdx="10" presStyleCnt="14"/>
      <dgm:spPr/>
    </dgm:pt>
    <dgm:pt modelId="{90F9D93B-368C-47DA-ABF0-E96E4D35BCB1}" type="pres">
      <dgm:prSet presAssocID="{918BD176-E82B-43DD-ACF5-EC4614571D6F}" presName="parallelogram5" presStyleLbl="alignNode1" presStyleIdx="11" presStyleCnt="14"/>
      <dgm:spPr/>
    </dgm:pt>
    <dgm:pt modelId="{AF8D96B1-434D-4797-9310-486419B3E7A0}" type="pres">
      <dgm:prSet presAssocID="{918BD176-E82B-43DD-ACF5-EC4614571D6F}" presName="parallelogram6" presStyleLbl="alignNode1" presStyleIdx="12" presStyleCnt="14"/>
      <dgm:spPr/>
    </dgm:pt>
    <dgm:pt modelId="{7CA3BC49-B45C-4005-879C-11604E3F08BF}" type="pres">
      <dgm:prSet presAssocID="{918BD176-E82B-43DD-ACF5-EC4614571D6F}" presName="parallelogram7" presStyleLbl="alignNode1" presStyleIdx="13" presStyleCnt="14"/>
      <dgm:spPr/>
    </dgm:pt>
  </dgm:ptLst>
  <dgm:cxnLst>
    <dgm:cxn modelId="{9FA24B06-EB5F-4209-B498-6917C750CD97}" srcId="{94F535B0-3EC7-40EE-84CA-EAB983C14F56}" destId="{A6212DA1-0577-4879-BC48-6FD756139E40}" srcOrd="0" destOrd="0" parTransId="{9EB2B6EA-ACE8-4DC9-ABC0-8614FCA3DAEA}" sibTransId="{E8E1801F-A179-4C3B-956E-23AC065A5A35}"/>
    <dgm:cxn modelId="{F9375A25-8DF5-42FA-8303-B8FA513516CE}" type="presOf" srcId="{A6212DA1-0577-4879-BC48-6FD756139E40}" destId="{4D68F560-4B97-487B-84DB-96A8ADD769B2}" srcOrd="0" destOrd="0" presId="urn:microsoft.com/office/officeart/2008/layout/VerticalAccentList"/>
    <dgm:cxn modelId="{CBDBCB75-1738-4831-A815-102EF3A74B6B}" srcId="{94F535B0-3EC7-40EE-84CA-EAB983C14F56}" destId="{918BD176-E82B-43DD-ACF5-EC4614571D6F}" srcOrd="1" destOrd="0" parTransId="{A601F90A-5D46-4027-8BB9-DEA46DB30144}" sibTransId="{748C5FBA-908F-45C4-B87B-85EB132D5D1C}"/>
    <dgm:cxn modelId="{3C2A8BA8-75D5-4D17-A7AB-69833504CADD}" type="presOf" srcId="{918BD176-E82B-43DD-ACF5-EC4614571D6F}" destId="{ABB437BC-8901-48FC-9076-105F2B43510E}" srcOrd="0" destOrd="0" presId="urn:microsoft.com/office/officeart/2008/layout/VerticalAccentList"/>
    <dgm:cxn modelId="{6C3B84D1-92F0-4454-B33F-E2C6EF077E82}" type="presOf" srcId="{94F535B0-3EC7-40EE-84CA-EAB983C14F56}" destId="{570DF381-3875-444E-A01F-82EB97F08A78}" srcOrd="0" destOrd="0" presId="urn:microsoft.com/office/officeart/2008/layout/VerticalAccentList"/>
    <dgm:cxn modelId="{34530F00-2BFA-4304-AB07-230973DA8BE5}" type="presParOf" srcId="{570DF381-3875-444E-A01F-82EB97F08A78}" destId="{E7502D47-121A-4A50-BF0E-02EFE6FE4A74}" srcOrd="0" destOrd="0" presId="urn:microsoft.com/office/officeart/2008/layout/VerticalAccentList"/>
    <dgm:cxn modelId="{B5B0BDBB-8390-4F67-8715-2B4B482CCBEC}" type="presParOf" srcId="{E7502D47-121A-4A50-BF0E-02EFE6FE4A74}" destId="{4D68F560-4B97-487B-84DB-96A8ADD769B2}" srcOrd="0" destOrd="0" presId="urn:microsoft.com/office/officeart/2008/layout/VerticalAccentList"/>
    <dgm:cxn modelId="{05B234F9-8DD8-4234-A5EB-DDDEA0A25B3D}" type="presParOf" srcId="{570DF381-3875-444E-A01F-82EB97F08A78}" destId="{695D45CE-8094-441B-9D6E-CD508E9E7801}" srcOrd="1" destOrd="0" presId="urn:microsoft.com/office/officeart/2008/layout/VerticalAccentList"/>
    <dgm:cxn modelId="{6AC67C8A-1250-450F-9660-83CD08B34BC9}" type="presParOf" srcId="{695D45CE-8094-441B-9D6E-CD508E9E7801}" destId="{9A1CD9D9-750B-4F4F-9B04-CD9EAF98A833}" srcOrd="0" destOrd="0" presId="urn:microsoft.com/office/officeart/2008/layout/VerticalAccentList"/>
    <dgm:cxn modelId="{DED41DE7-839A-491D-9192-285AB1D181DE}" type="presParOf" srcId="{695D45CE-8094-441B-9D6E-CD508E9E7801}" destId="{1408E809-F190-4574-8566-E644C1A8F160}" srcOrd="1" destOrd="0" presId="urn:microsoft.com/office/officeart/2008/layout/VerticalAccentList"/>
    <dgm:cxn modelId="{01F6ED81-DF27-439E-9A5A-FD1E8488FEEA}" type="presParOf" srcId="{695D45CE-8094-441B-9D6E-CD508E9E7801}" destId="{4C50135F-336F-42EC-95EB-0229BA4B822C}" srcOrd="2" destOrd="0" presId="urn:microsoft.com/office/officeart/2008/layout/VerticalAccentList"/>
    <dgm:cxn modelId="{51E55B7A-483A-4666-81B2-77684F1C0862}" type="presParOf" srcId="{695D45CE-8094-441B-9D6E-CD508E9E7801}" destId="{F06D3DA6-41C7-4E3F-9668-B8035C9E7479}" srcOrd="3" destOrd="0" presId="urn:microsoft.com/office/officeart/2008/layout/VerticalAccentList"/>
    <dgm:cxn modelId="{E456B4D0-4C07-434B-8FF5-DE99A54324E2}" type="presParOf" srcId="{695D45CE-8094-441B-9D6E-CD508E9E7801}" destId="{39A4DC12-7B25-4686-A334-054B9AA8D154}" srcOrd="4" destOrd="0" presId="urn:microsoft.com/office/officeart/2008/layout/VerticalAccentList"/>
    <dgm:cxn modelId="{E4BEC5E0-50DD-41D8-B3CE-D2517AAAD2ED}" type="presParOf" srcId="{695D45CE-8094-441B-9D6E-CD508E9E7801}" destId="{FA455300-7285-429D-A54A-673C05B710CC}" srcOrd="5" destOrd="0" presId="urn:microsoft.com/office/officeart/2008/layout/VerticalAccentList"/>
    <dgm:cxn modelId="{8597938C-9295-48E1-8149-FBDD8EA21FE3}" type="presParOf" srcId="{695D45CE-8094-441B-9D6E-CD508E9E7801}" destId="{AA9F137B-52FA-4702-AC12-BA375C60538C}" srcOrd="6" destOrd="0" presId="urn:microsoft.com/office/officeart/2008/layout/VerticalAccentList"/>
    <dgm:cxn modelId="{6BC7503A-A66C-4E5C-90A7-E9AF180B41FD}" type="presParOf" srcId="{570DF381-3875-444E-A01F-82EB97F08A78}" destId="{6784E3B8-2789-4AA9-843C-2AFA193190B3}" srcOrd="2" destOrd="0" presId="urn:microsoft.com/office/officeart/2008/layout/VerticalAccentList"/>
    <dgm:cxn modelId="{7C686893-1583-4966-B36B-A84A92D28C8A}" type="presParOf" srcId="{570DF381-3875-444E-A01F-82EB97F08A78}" destId="{084DF776-3CF8-4A35-B5C0-2A3CD1911756}" srcOrd="3" destOrd="0" presId="urn:microsoft.com/office/officeart/2008/layout/VerticalAccentList"/>
    <dgm:cxn modelId="{DC7C3C93-56E8-479F-A799-50CAAE07BFF6}" type="presParOf" srcId="{084DF776-3CF8-4A35-B5C0-2A3CD1911756}" destId="{ABB437BC-8901-48FC-9076-105F2B43510E}" srcOrd="0" destOrd="0" presId="urn:microsoft.com/office/officeart/2008/layout/VerticalAccentList"/>
    <dgm:cxn modelId="{AA540C29-E1C9-48C8-85E3-875D90037313}" type="presParOf" srcId="{570DF381-3875-444E-A01F-82EB97F08A78}" destId="{F52D9201-AF18-4D42-8660-837E89B07C71}" srcOrd="4" destOrd="0" presId="urn:microsoft.com/office/officeart/2008/layout/VerticalAccentList"/>
    <dgm:cxn modelId="{347EB806-67E5-4EDC-94D5-21477B4E40C4}" type="presParOf" srcId="{F52D9201-AF18-4D42-8660-837E89B07C71}" destId="{90FC1EC3-DEE6-4556-B4C8-B049B599FB42}" srcOrd="0" destOrd="0" presId="urn:microsoft.com/office/officeart/2008/layout/VerticalAccentList"/>
    <dgm:cxn modelId="{EE3C7281-07F6-4E18-B361-22AA3D58311A}" type="presParOf" srcId="{F52D9201-AF18-4D42-8660-837E89B07C71}" destId="{EB16AFA5-7CB1-4DB6-8F76-ADD862C3F086}" srcOrd="1" destOrd="0" presId="urn:microsoft.com/office/officeart/2008/layout/VerticalAccentList"/>
    <dgm:cxn modelId="{02EA323E-DE4E-4821-9DCD-3F250FF9FED8}" type="presParOf" srcId="{F52D9201-AF18-4D42-8660-837E89B07C71}" destId="{A2F25226-7237-4D8E-92BF-8D68ABC6FFB8}" srcOrd="2" destOrd="0" presId="urn:microsoft.com/office/officeart/2008/layout/VerticalAccentList"/>
    <dgm:cxn modelId="{18B4909B-C30B-4D68-8CB5-2EBB6E8DCD02}" type="presParOf" srcId="{F52D9201-AF18-4D42-8660-837E89B07C71}" destId="{19547312-D9F8-4350-86A1-1C040B38C29C}" srcOrd="3" destOrd="0" presId="urn:microsoft.com/office/officeart/2008/layout/VerticalAccentList"/>
    <dgm:cxn modelId="{AECC9116-1404-45ED-A922-61FB04AE73B6}" type="presParOf" srcId="{F52D9201-AF18-4D42-8660-837E89B07C71}" destId="{90F9D93B-368C-47DA-ABF0-E96E4D35BCB1}" srcOrd="4" destOrd="0" presId="urn:microsoft.com/office/officeart/2008/layout/VerticalAccentList"/>
    <dgm:cxn modelId="{3457E9C6-076B-4B88-B32C-E390D09FD5E9}" type="presParOf" srcId="{F52D9201-AF18-4D42-8660-837E89B07C71}" destId="{AF8D96B1-434D-4797-9310-486419B3E7A0}" srcOrd="5" destOrd="0" presId="urn:microsoft.com/office/officeart/2008/layout/VerticalAccentList"/>
    <dgm:cxn modelId="{47DB31B8-BD85-42CA-9CA2-2413D19F0B93}" type="presParOf" srcId="{F52D9201-AF18-4D42-8660-837E89B07C71}" destId="{7CA3BC49-B45C-4005-879C-11604E3F08BF}"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4F535B0-3EC7-40EE-84CA-EAB983C14F56}" type="doc">
      <dgm:prSet loTypeId="urn:microsoft.com/office/officeart/2008/layout/VerticalCurvedList" loCatId="list" qsTypeId="urn:microsoft.com/office/officeart/2005/8/quickstyle/simple1" qsCatId="simple" csTypeId="urn:microsoft.com/office/officeart/2005/8/colors/colorful2" csCatId="colorful" phldr="1"/>
      <dgm:spPr/>
    </dgm:pt>
    <dgm:pt modelId="{A6212DA1-0577-4879-BC48-6FD756139E40}">
      <dgm:prSet phldrT="[Text]"/>
      <dgm:spPr/>
      <dgm:t>
        <a:bodyPr/>
        <a:lstStyle/>
        <a:p>
          <a:r>
            <a:rPr lang="en-US" dirty="0"/>
            <a:t>Cost effective</a:t>
          </a:r>
        </a:p>
      </dgm:t>
    </dgm:pt>
    <dgm:pt modelId="{9EB2B6EA-ACE8-4DC9-ABC0-8614FCA3DAEA}" type="parTrans" cxnId="{9FA24B06-EB5F-4209-B498-6917C750CD97}">
      <dgm:prSet/>
      <dgm:spPr/>
      <dgm:t>
        <a:bodyPr/>
        <a:lstStyle/>
        <a:p>
          <a:endParaRPr lang="en-US"/>
        </a:p>
      </dgm:t>
    </dgm:pt>
    <dgm:pt modelId="{E8E1801F-A179-4C3B-956E-23AC065A5A35}" type="sibTrans" cxnId="{9FA24B06-EB5F-4209-B498-6917C750CD97}">
      <dgm:prSet/>
      <dgm:spPr/>
      <dgm:t>
        <a:bodyPr/>
        <a:lstStyle/>
        <a:p>
          <a:endParaRPr lang="en-US"/>
        </a:p>
      </dgm:t>
    </dgm:pt>
    <dgm:pt modelId="{918BD176-E82B-43DD-ACF5-EC4614571D6F}">
      <dgm:prSet phldrT="[Text]"/>
      <dgm:spPr/>
      <dgm:t>
        <a:bodyPr/>
        <a:lstStyle/>
        <a:p>
          <a:r>
            <a:rPr lang="en-US" dirty="0"/>
            <a:t>Less work</a:t>
          </a:r>
        </a:p>
      </dgm:t>
    </dgm:pt>
    <dgm:pt modelId="{A601F90A-5D46-4027-8BB9-DEA46DB30144}" type="parTrans" cxnId="{CBDBCB75-1738-4831-A815-102EF3A74B6B}">
      <dgm:prSet/>
      <dgm:spPr/>
      <dgm:t>
        <a:bodyPr/>
        <a:lstStyle/>
        <a:p>
          <a:endParaRPr lang="en-US"/>
        </a:p>
      </dgm:t>
    </dgm:pt>
    <dgm:pt modelId="{748C5FBA-908F-45C4-B87B-85EB132D5D1C}" type="sibTrans" cxnId="{CBDBCB75-1738-4831-A815-102EF3A74B6B}">
      <dgm:prSet/>
      <dgm:spPr/>
      <dgm:t>
        <a:bodyPr/>
        <a:lstStyle/>
        <a:p>
          <a:endParaRPr lang="en-US"/>
        </a:p>
      </dgm:t>
    </dgm:pt>
    <dgm:pt modelId="{6F2D8C25-FB94-4C97-AD7A-91AF5DE78104}">
      <dgm:prSet phldrT="[Text]"/>
      <dgm:spPr/>
      <dgm:t>
        <a:bodyPr/>
        <a:lstStyle/>
        <a:p>
          <a:r>
            <a:rPr lang="en-US" dirty="0"/>
            <a:t>Full control</a:t>
          </a:r>
        </a:p>
      </dgm:t>
    </dgm:pt>
    <dgm:pt modelId="{3C5929E6-2113-4814-9F8E-394FD3447C21}" type="parTrans" cxnId="{8C35F334-7F46-4A90-9294-529ADA83E793}">
      <dgm:prSet/>
      <dgm:spPr/>
      <dgm:t>
        <a:bodyPr/>
        <a:lstStyle/>
        <a:p>
          <a:endParaRPr lang="en-US"/>
        </a:p>
      </dgm:t>
    </dgm:pt>
    <dgm:pt modelId="{89373D55-CDFE-49EF-A102-31E5CE8E5B0E}" type="sibTrans" cxnId="{8C35F334-7F46-4A90-9294-529ADA83E793}">
      <dgm:prSet/>
      <dgm:spPr/>
      <dgm:t>
        <a:bodyPr/>
        <a:lstStyle/>
        <a:p>
          <a:endParaRPr lang="en-US"/>
        </a:p>
      </dgm:t>
    </dgm:pt>
    <dgm:pt modelId="{D66A9135-5DD2-4139-9194-500C9E579BEE}">
      <dgm:prSet phldrT="[Text]"/>
      <dgm:spPr/>
      <dgm:t>
        <a:bodyPr/>
        <a:lstStyle/>
        <a:p>
          <a:r>
            <a:rPr lang="en-US" dirty="0"/>
            <a:t>Minimal management</a:t>
          </a:r>
        </a:p>
      </dgm:t>
    </dgm:pt>
    <dgm:pt modelId="{DA726E0C-CA3D-4F2C-99A2-D868332BB8A6}" type="parTrans" cxnId="{E5B85899-9A64-4E75-98F9-23D14B47DF15}">
      <dgm:prSet/>
      <dgm:spPr/>
      <dgm:t>
        <a:bodyPr/>
        <a:lstStyle/>
        <a:p>
          <a:endParaRPr lang="en-US"/>
        </a:p>
      </dgm:t>
    </dgm:pt>
    <dgm:pt modelId="{967666E5-7431-4390-9B3B-A7ECC3286F8D}" type="sibTrans" cxnId="{E5B85899-9A64-4E75-98F9-23D14B47DF15}">
      <dgm:prSet/>
      <dgm:spPr/>
      <dgm:t>
        <a:bodyPr/>
        <a:lstStyle/>
        <a:p>
          <a:endParaRPr lang="en-US"/>
        </a:p>
      </dgm:t>
    </dgm:pt>
    <dgm:pt modelId="{262597D8-5023-4CAD-A116-204BE9A303DF}">
      <dgm:prSet phldrT="[Text]"/>
      <dgm:spPr/>
      <dgm:t>
        <a:bodyPr/>
        <a:lstStyle/>
        <a:p>
          <a:r>
            <a:rPr lang="en-US" dirty="0"/>
            <a:t>Faster deployment</a:t>
          </a:r>
        </a:p>
      </dgm:t>
    </dgm:pt>
    <dgm:pt modelId="{7F4CA0FD-CB74-47B8-AC0B-0F4B2137290E}" type="parTrans" cxnId="{79120C28-711E-47CF-A494-BA960833AC4D}">
      <dgm:prSet/>
      <dgm:spPr/>
      <dgm:t>
        <a:bodyPr/>
        <a:lstStyle/>
        <a:p>
          <a:endParaRPr lang="en-US"/>
        </a:p>
      </dgm:t>
    </dgm:pt>
    <dgm:pt modelId="{0B6A6EA1-301C-414E-9269-7B8E5F392D97}" type="sibTrans" cxnId="{79120C28-711E-47CF-A494-BA960833AC4D}">
      <dgm:prSet/>
      <dgm:spPr/>
      <dgm:t>
        <a:bodyPr/>
        <a:lstStyle/>
        <a:p>
          <a:endParaRPr lang="en-US"/>
        </a:p>
      </dgm:t>
    </dgm:pt>
    <dgm:pt modelId="{6A3504EE-8EC1-46B8-9871-384EF82E6C12}" type="pres">
      <dgm:prSet presAssocID="{94F535B0-3EC7-40EE-84CA-EAB983C14F56}" presName="Name0" presStyleCnt="0">
        <dgm:presLayoutVars>
          <dgm:chMax val="7"/>
          <dgm:chPref val="7"/>
          <dgm:dir/>
        </dgm:presLayoutVars>
      </dgm:prSet>
      <dgm:spPr/>
    </dgm:pt>
    <dgm:pt modelId="{E872E2CD-F275-42CD-A387-4FF5F273EC40}" type="pres">
      <dgm:prSet presAssocID="{94F535B0-3EC7-40EE-84CA-EAB983C14F56}" presName="Name1" presStyleCnt="0"/>
      <dgm:spPr/>
    </dgm:pt>
    <dgm:pt modelId="{CE50BEC9-1A9D-4C9D-8410-A3FB4623283D}" type="pres">
      <dgm:prSet presAssocID="{94F535B0-3EC7-40EE-84CA-EAB983C14F56}" presName="cycle" presStyleCnt="0"/>
      <dgm:spPr/>
    </dgm:pt>
    <dgm:pt modelId="{2C75CE8E-FADD-46C5-A525-EEF41EBA1D1F}" type="pres">
      <dgm:prSet presAssocID="{94F535B0-3EC7-40EE-84CA-EAB983C14F56}" presName="srcNode" presStyleLbl="node1" presStyleIdx="0" presStyleCnt="5"/>
      <dgm:spPr/>
    </dgm:pt>
    <dgm:pt modelId="{003EE7F6-D31D-460A-BC6A-8661CBCEA3C8}" type="pres">
      <dgm:prSet presAssocID="{94F535B0-3EC7-40EE-84CA-EAB983C14F56}" presName="conn" presStyleLbl="parChTrans1D2" presStyleIdx="0" presStyleCnt="1"/>
      <dgm:spPr/>
    </dgm:pt>
    <dgm:pt modelId="{45008376-6819-404E-80E5-F3AF458D534C}" type="pres">
      <dgm:prSet presAssocID="{94F535B0-3EC7-40EE-84CA-EAB983C14F56}" presName="extraNode" presStyleLbl="node1" presStyleIdx="0" presStyleCnt="5"/>
      <dgm:spPr/>
    </dgm:pt>
    <dgm:pt modelId="{27A000C9-FF7B-406B-8B18-696E42843FCB}" type="pres">
      <dgm:prSet presAssocID="{94F535B0-3EC7-40EE-84CA-EAB983C14F56}" presName="dstNode" presStyleLbl="node1" presStyleIdx="0" presStyleCnt="5"/>
      <dgm:spPr/>
    </dgm:pt>
    <dgm:pt modelId="{56D8B59C-4D1B-46E1-83B5-DD9C8AFB3851}" type="pres">
      <dgm:prSet presAssocID="{262597D8-5023-4CAD-A116-204BE9A303DF}" presName="text_1" presStyleLbl="node1" presStyleIdx="0" presStyleCnt="5">
        <dgm:presLayoutVars>
          <dgm:bulletEnabled val="1"/>
        </dgm:presLayoutVars>
      </dgm:prSet>
      <dgm:spPr/>
    </dgm:pt>
    <dgm:pt modelId="{25AD67AC-570D-411A-941C-C671740166B1}" type="pres">
      <dgm:prSet presAssocID="{262597D8-5023-4CAD-A116-204BE9A303DF}" presName="accent_1" presStyleCnt="0"/>
      <dgm:spPr/>
    </dgm:pt>
    <dgm:pt modelId="{E6EE462D-C980-42C1-92D6-48F7E22D2E53}" type="pres">
      <dgm:prSet presAssocID="{262597D8-5023-4CAD-A116-204BE9A303DF}" presName="accentRepeatNode" presStyleLbl="solidFgAcc1" presStyleIdx="0" presStyleCnt="5"/>
      <dgm:spPr/>
    </dgm:pt>
    <dgm:pt modelId="{90750DD2-1387-49B9-A20B-EB53B0F7C38E}" type="pres">
      <dgm:prSet presAssocID="{A6212DA1-0577-4879-BC48-6FD756139E40}" presName="text_2" presStyleLbl="node1" presStyleIdx="1" presStyleCnt="5">
        <dgm:presLayoutVars>
          <dgm:bulletEnabled val="1"/>
        </dgm:presLayoutVars>
      </dgm:prSet>
      <dgm:spPr/>
    </dgm:pt>
    <dgm:pt modelId="{C05837DF-0D3C-4C96-882F-4A7AE8636714}" type="pres">
      <dgm:prSet presAssocID="{A6212DA1-0577-4879-BC48-6FD756139E40}" presName="accent_2" presStyleCnt="0"/>
      <dgm:spPr/>
    </dgm:pt>
    <dgm:pt modelId="{37007D8F-83D2-4503-9849-433CF9B8C516}" type="pres">
      <dgm:prSet presAssocID="{A6212DA1-0577-4879-BC48-6FD756139E40}" presName="accentRepeatNode" presStyleLbl="solidFgAcc1" presStyleIdx="1" presStyleCnt="5"/>
      <dgm:spPr/>
    </dgm:pt>
    <dgm:pt modelId="{624534E6-34CB-41C7-BD91-CAE5DB1053FF}" type="pres">
      <dgm:prSet presAssocID="{918BD176-E82B-43DD-ACF5-EC4614571D6F}" presName="text_3" presStyleLbl="node1" presStyleIdx="2" presStyleCnt="5">
        <dgm:presLayoutVars>
          <dgm:bulletEnabled val="1"/>
        </dgm:presLayoutVars>
      </dgm:prSet>
      <dgm:spPr/>
    </dgm:pt>
    <dgm:pt modelId="{00DB1799-4460-4C45-8764-D66813094679}" type="pres">
      <dgm:prSet presAssocID="{918BD176-E82B-43DD-ACF5-EC4614571D6F}" presName="accent_3" presStyleCnt="0"/>
      <dgm:spPr/>
    </dgm:pt>
    <dgm:pt modelId="{362E1D10-E502-45E2-A9B8-047F7F3360B5}" type="pres">
      <dgm:prSet presAssocID="{918BD176-E82B-43DD-ACF5-EC4614571D6F}" presName="accentRepeatNode" presStyleLbl="solidFgAcc1" presStyleIdx="2" presStyleCnt="5"/>
      <dgm:spPr/>
    </dgm:pt>
    <dgm:pt modelId="{562CE8E8-A896-43DC-8590-8B65317632E4}" type="pres">
      <dgm:prSet presAssocID="{6F2D8C25-FB94-4C97-AD7A-91AF5DE78104}" presName="text_4" presStyleLbl="node1" presStyleIdx="3" presStyleCnt="5">
        <dgm:presLayoutVars>
          <dgm:bulletEnabled val="1"/>
        </dgm:presLayoutVars>
      </dgm:prSet>
      <dgm:spPr/>
    </dgm:pt>
    <dgm:pt modelId="{A9A7BD9C-ABFA-418F-A133-FDBB428A0C01}" type="pres">
      <dgm:prSet presAssocID="{6F2D8C25-FB94-4C97-AD7A-91AF5DE78104}" presName="accent_4" presStyleCnt="0"/>
      <dgm:spPr/>
    </dgm:pt>
    <dgm:pt modelId="{2C4A69EA-EFBE-4ACD-AF5E-252BB9906AB0}" type="pres">
      <dgm:prSet presAssocID="{6F2D8C25-FB94-4C97-AD7A-91AF5DE78104}" presName="accentRepeatNode" presStyleLbl="solidFgAcc1" presStyleIdx="3" presStyleCnt="5"/>
      <dgm:spPr/>
    </dgm:pt>
    <dgm:pt modelId="{4DA71C8A-E4CA-4C69-888E-835F9C2EC85B}" type="pres">
      <dgm:prSet presAssocID="{D66A9135-5DD2-4139-9194-500C9E579BEE}" presName="text_5" presStyleLbl="node1" presStyleIdx="4" presStyleCnt="5">
        <dgm:presLayoutVars>
          <dgm:bulletEnabled val="1"/>
        </dgm:presLayoutVars>
      </dgm:prSet>
      <dgm:spPr/>
    </dgm:pt>
    <dgm:pt modelId="{0464B312-AB04-46AB-8A33-42C7DF15F0DF}" type="pres">
      <dgm:prSet presAssocID="{D66A9135-5DD2-4139-9194-500C9E579BEE}" presName="accent_5" presStyleCnt="0"/>
      <dgm:spPr/>
    </dgm:pt>
    <dgm:pt modelId="{AEACA7A2-E3E9-4810-B0DE-E1AE78FE6B43}" type="pres">
      <dgm:prSet presAssocID="{D66A9135-5DD2-4139-9194-500C9E579BEE}" presName="accentRepeatNode" presStyleLbl="solidFgAcc1" presStyleIdx="4" presStyleCnt="5"/>
      <dgm:spPr/>
    </dgm:pt>
  </dgm:ptLst>
  <dgm:cxnLst>
    <dgm:cxn modelId="{9FA24B06-EB5F-4209-B498-6917C750CD97}" srcId="{94F535B0-3EC7-40EE-84CA-EAB983C14F56}" destId="{A6212DA1-0577-4879-BC48-6FD756139E40}" srcOrd="1" destOrd="0" parTransId="{9EB2B6EA-ACE8-4DC9-ABC0-8614FCA3DAEA}" sibTransId="{E8E1801F-A179-4C3B-956E-23AC065A5A35}"/>
    <dgm:cxn modelId="{5509F51C-8B11-43A3-BFA3-FE828B4A80DE}" type="presOf" srcId="{94F535B0-3EC7-40EE-84CA-EAB983C14F56}" destId="{6A3504EE-8EC1-46B8-9871-384EF82E6C12}" srcOrd="0" destOrd="0" presId="urn:microsoft.com/office/officeart/2008/layout/VerticalCurvedList"/>
    <dgm:cxn modelId="{79120C28-711E-47CF-A494-BA960833AC4D}" srcId="{94F535B0-3EC7-40EE-84CA-EAB983C14F56}" destId="{262597D8-5023-4CAD-A116-204BE9A303DF}" srcOrd="0" destOrd="0" parTransId="{7F4CA0FD-CB74-47B8-AC0B-0F4B2137290E}" sibTransId="{0B6A6EA1-301C-414E-9269-7B8E5F392D97}"/>
    <dgm:cxn modelId="{8C35F334-7F46-4A90-9294-529ADA83E793}" srcId="{94F535B0-3EC7-40EE-84CA-EAB983C14F56}" destId="{6F2D8C25-FB94-4C97-AD7A-91AF5DE78104}" srcOrd="3" destOrd="0" parTransId="{3C5929E6-2113-4814-9F8E-394FD3447C21}" sibTransId="{89373D55-CDFE-49EF-A102-31E5CE8E5B0E}"/>
    <dgm:cxn modelId="{6EFFC135-EE6A-4441-B570-F133AFBBBBA1}" type="presOf" srcId="{0B6A6EA1-301C-414E-9269-7B8E5F392D97}" destId="{003EE7F6-D31D-460A-BC6A-8661CBCEA3C8}" srcOrd="0" destOrd="0" presId="urn:microsoft.com/office/officeart/2008/layout/VerticalCurvedList"/>
    <dgm:cxn modelId="{6E18A54B-2749-4714-9FF7-544FEA116F4E}" type="presOf" srcId="{D66A9135-5DD2-4139-9194-500C9E579BEE}" destId="{4DA71C8A-E4CA-4C69-888E-835F9C2EC85B}" srcOrd="0" destOrd="0" presId="urn:microsoft.com/office/officeart/2008/layout/VerticalCurvedList"/>
    <dgm:cxn modelId="{CBDBCB75-1738-4831-A815-102EF3A74B6B}" srcId="{94F535B0-3EC7-40EE-84CA-EAB983C14F56}" destId="{918BD176-E82B-43DD-ACF5-EC4614571D6F}" srcOrd="2" destOrd="0" parTransId="{A601F90A-5D46-4027-8BB9-DEA46DB30144}" sibTransId="{748C5FBA-908F-45C4-B87B-85EB132D5D1C}"/>
    <dgm:cxn modelId="{8FD89584-E06F-4386-9B02-E3EC25B75769}" type="presOf" srcId="{918BD176-E82B-43DD-ACF5-EC4614571D6F}" destId="{624534E6-34CB-41C7-BD91-CAE5DB1053FF}" srcOrd="0" destOrd="0" presId="urn:microsoft.com/office/officeart/2008/layout/VerticalCurvedList"/>
    <dgm:cxn modelId="{E5B85899-9A64-4E75-98F9-23D14B47DF15}" srcId="{94F535B0-3EC7-40EE-84CA-EAB983C14F56}" destId="{D66A9135-5DD2-4139-9194-500C9E579BEE}" srcOrd="4" destOrd="0" parTransId="{DA726E0C-CA3D-4F2C-99A2-D868332BB8A6}" sibTransId="{967666E5-7431-4390-9B3B-A7ECC3286F8D}"/>
    <dgm:cxn modelId="{C5B2C69E-CB91-4EB4-B5F0-3A4622842274}" type="presOf" srcId="{6F2D8C25-FB94-4C97-AD7A-91AF5DE78104}" destId="{562CE8E8-A896-43DC-8590-8B65317632E4}" srcOrd="0" destOrd="0" presId="urn:microsoft.com/office/officeart/2008/layout/VerticalCurvedList"/>
    <dgm:cxn modelId="{2D3196BB-5CBC-4A91-A60D-4616FB91235C}" type="presOf" srcId="{262597D8-5023-4CAD-A116-204BE9A303DF}" destId="{56D8B59C-4D1B-46E1-83B5-DD9C8AFB3851}" srcOrd="0" destOrd="0" presId="urn:microsoft.com/office/officeart/2008/layout/VerticalCurvedList"/>
    <dgm:cxn modelId="{2EF222F1-59E9-4ED5-A205-D51A9F960CEC}" type="presOf" srcId="{A6212DA1-0577-4879-BC48-6FD756139E40}" destId="{90750DD2-1387-49B9-A20B-EB53B0F7C38E}" srcOrd="0" destOrd="0" presId="urn:microsoft.com/office/officeart/2008/layout/VerticalCurvedList"/>
    <dgm:cxn modelId="{DF0D87B9-4723-414A-8084-FC3F59B71880}" type="presParOf" srcId="{6A3504EE-8EC1-46B8-9871-384EF82E6C12}" destId="{E872E2CD-F275-42CD-A387-4FF5F273EC40}" srcOrd="0" destOrd="0" presId="urn:microsoft.com/office/officeart/2008/layout/VerticalCurvedList"/>
    <dgm:cxn modelId="{563A9F2E-B758-40D1-9584-A51C5A3959F7}" type="presParOf" srcId="{E872E2CD-F275-42CD-A387-4FF5F273EC40}" destId="{CE50BEC9-1A9D-4C9D-8410-A3FB4623283D}" srcOrd="0" destOrd="0" presId="urn:microsoft.com/office/officeart/2008/layout/VerticalCurvedList"/>
    <dgm:cxn modelId="{11B79A15-1FF1-4A92-BCB1-EA6F39B72178}" type="presParOf" srcId="{CE50BEC9-1A9D-4C9D-8410-A3FB4623283D}" destId="{2C75CE8E-FADD-46C5-A525-EEF41EBA1D1F}" srcOrd="0" destOrd="0" presId="urn:microsoft.com/office/officeart/2008/layout/VerticalCurvedList"/>
    <dgm:cxn modelId="{BED25443-A1CF-49EF-A611-025F66EC02CE}" type="presParOf" srcId="{CE50BEC9-1A9D-4C9D-8410-A3FB4623283D}" destId="{003EE7F6-D31D-460A-BC6A-8661CBCEA3C8}" srcOrd="1" destOrd="0" presId="urn:microsoft.com/office/officeart/2008/layout/VerticalCurvedList"/>
    <dgm:cxn modelId="{05F28345-005A-482E-AF5A-F942F9BD28BD}" type="presParOf" srcId="{CE50BEC9-1A9D-4C9D-8410-A3FB4623283D}" destId="{45008376-6819-404E-80E5-F3AF458D534C}" srcOrd="2" destOrd="0" presId="urn:microsoft.com/office/officeart/2008/layout/VerticalCurvedList"/>
    <dgm:cxn modelId="{910F9008-8653-48BB-9D24-7CEF6656B767}" type="presParOf" srcId="{CE50BEC9-1A9D-4C9D-8410-A3FB4623283D}" destId="{27A000C9-FF7B-406B-8B18-696E42843FCB}" srcOrd="3" destOrd="0" presId="urn:microsoft.com/office/officeart/2008/layout/VerticalCurvedList"/>
    <dgm:cxn modelId="{447C1192-AE13-4B87-9C93-A5668D524985}" type="presParOf" srcId="{E872E2CD-F275-42CD-A387-4FF5F273EC40}" destId="{56D8B59C-4D1B-46E1-83B5-DD9C8AFB3851}" srcOrd="1" destOrd="0" presId="urn:microsoft.com/office/officeart/2008/layout/VerticalCurvedList"/>
    <dgm:cxn modelId="{816830A5-EA54-40A5-95EF-799F99694ED9}" type="presParOf" srcId="{E872E2CD-F275-42CD-A387-4FF5F273EC40}" destId="{25AD67AC-570D-411A-941C-C671740166B1}" srcOrd="2" destOrd="0" presId="urn:microsoft.com/office/officeart/2008/layout/VerticalCurvedList"/>
    <dgm:cxn modelId="{936A5074-57A8-4B72-8A7D-3BBD67D0479D}" type="presParOf" srcId="{25AD67AC-570D-411A-941C-C671740166B1}" destId="{E6EE462D-C980-42C1-92D6-48F7E22D2E53}" srcOrd="0" destOrd="0" presId="urn:microsoft.com/office/officeart/2008/layout/VerticalCurvedList"/>
    <dgm:cxn modelId="{E87EE38D-1FFD-46D0-AACC-EB31026E5BFF}" type="presParOf" srcId="{E872E2CD-F275-42CD-A387-4FF5F273EC40}" destId="{90750DD2-1387-49B9-A20B-EB53B0F7C38E}" srcOrd="3" destOrd="0" presId="urn:microsoft.com/office/officeart/2008/layout/VerticalCurvedList"/>
    <dgm:cxn modelId="{F9499BE2-EA99-4486-A899-384AEA10E95E}" type="presParOf" srcId="{E872E2CD-F275-42CD-A387-4FF5F273EC40}" destId="{C05837DF-0D3C-4C96-882F-4A7AE8636714}" srcOrd="4" destOrd="0" presId="urn:microsoft.com/office/officeart/2008/layout/VerticalCurvedList"/>
    <dgm:cxn modelId="{ED7AD607-A000-479E-A19F-1E05B9BFA416}" type="presParOf" srcId="{C05837DF-0D3C-4C96-882F-4A7AE8636714}" destId="{37007D8F-83D2-4503-9849-433CF9B8C516}" srcOrd="0" destOrd="0" presId="urn:microsoft.com/office/officeart/2008/layout/VerticalCurvedList"/>
    <dgm:cxn modelId="{4BA86EC9-D0E0-4929-B0C7-6C7F21459910}" type="presParOf" srcId="{E872E2CD-F275-42CD-A387-4FF5F273EC40}" destId="{624534E6-34CB-41C7-BD91-CAE5DB1053FF}" srcOrd="5" destOrd="0" presId="urn:microsoft.com/office/officeart/2008/layout/VerticalCurvedList"/>
    <dgm:cxn modelId="{5FA25E31-9DE2-4F5F-9672-4B7EA73C4CE1}" type="presParOf" srcId="{E872E2CD-F275-42CD-A387-4FF5F273EC40}" destId="{00DB1799-4460-4C45-8764-D66813094679}" srcOrd="6" destOrd="0" presId="urn:microsoft.com/office/officeart/2008/layout/VerticalCurvedList"/>
    <dgm:cxn modelId="{F13BD4C6-7D52-43CE-AAFF-1E285A736AED}" type="presParOf" srcId="{00DB1799-4460-4C45-8764-D66813094679}" destId="{362E1D10-E502-45E2-A9B8-047F7F3360B5}" srcOrd="0" destOrd="0" presId="urn:microsoft.com/office/officeart/2008/layout/VerticalCurvedList"/>
    <dgm:cxn modelId="{7B7CF11F-BF7A-4699-B6DA-D092C985B3A3}" type="presParOf" srcId="{E872E2CD-F275-42CD-A387-4FF5F273EC40}" destId="{562CE8E8-A896-43DC-8590-8B65317632E4}" srcOrd="7" destOrd="0" presId="urn:microsoft.com/office/officeart/2008/layout/VerticalCurvedList"/>
    <dgm:cxn modelId="{3FBF2494-9D85-45D3-9664-52337170F4B9}" type="presParOf" srcId="{E872E2CD-F275-42CD-A387-4FF5F273EC40}" destId="{A9A7BD9C-ABFA-418F-A133-FDBB428A0C01}" srcOrd="8" destOrd="0" presId="urn:microsoft.com/office/officeart/2008/layout/VerticalCurvedList"/>
    <dgm:cxn modelId="{1CAB52A3-40D1-41EB-AEF2-C298F3CE461E}" type="presParOf" srcId="{A9A7BD9C-ABFA-418F-A133-FDBB428A0C01}" destId="{2C4A69EA-EFBE-4ACD-AF5E-252BB9906AB0}" srcOrd="0" destOrd="0" presId="urn:microsoft.com/office/officeart/2008/layout/VerticalCurvedList"/>
    <dgm:cxn modelId="{59461172-1230-41F7-9877-6C054FA6BAAC}" type="presParOf" srcId="{E872E2CD-F275-42CD-A387-4FF5F273EC40}" destId="{4DA71C8A-E4CA-4C69-888E-835F9C2EC85B}" srcOrd="9" destOrd="0" presId="urn:microsoft.com/office/officeart/2008/layout/VerticalCurvedList"/>
    <dgm:cxn modelId="{3C9D464F-4973-484C-9489-A2178EC59ED7}" type="presParOf" srcId="{E872E2CD-F275-42CD-A387-4FF5F273EC40}" destId="{0464B312-AB04-46AB-8A33-42C7DF15F0DF}" srcOrd="10" destOrd="0" presId="urn:microsoft.com/office/officeart/2008/layout/VerticalCurvedList"/>
    <dgm:cxn modelId="{95505308-E78C-4C65-A9F1-0F7D59C2F572}" type="presParOf" srcId="{0464B312-AB04-46AB-8A33-42C7DF15F0DF}" destId="{AEACA7A2-E3E9-4810-B0DE-E1AE78FE6B4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278BC-658A-4536-84E1-0024C1C5D68A}">
      <dsp:nvSpPr>
        <dsp:cNvPr id="0" name=""/>
        <dsp:cNvSpPr/>
      </dsp:nvSpPr>
      <dsp:spPr>
        <a:xfrm rot="5400000">
          <a:off x="-278526" y="278994"/>
          <a:ext cx="1856843" cy="1299790"/>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loud Applications</a:t>
          </a:r>
        </a:p>
      </dsp:txBody>
      <dsp:txXfrm rot="-5400000">
        <a:off x="1" y="650362"/>
        <a:ext cx="1299790" cy="557053"/>
      </dsp:txXfrm>
    </dsp:sp>
    <dsp:sp modelId="{ABB8E84C-D255-44A9-AB98-7A5682D0C3B3}">
      <dsp:nvSpPr>
        <dsp:cNvPr id="0" name=""/>
        <dsp:cNvSpPr/>
      </dsp:nvSpPr>
      <dsp:spPr>
        <a:xfrm rot="5400000">
          <a:off x="5402345" y="-4102086"/>
          <a:ext cx="1206948" cy="9412058"/>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3576" tIns="14605" rIns="14605" bIns="14605" numCol="1" spcCol="1270" anchor="ctr" anchorCtr="0">
          <a:noAutofit/>
        </a:bodyPr>
        <a:lstStyle/>
        <a:p>
          <a:pPr marL="171450" lvl="1" indent="-171450" algn="just" defTabSz="800100">
            <a:lnSpc>
              <a:spcPct val="150000"/>
            </a:lnSpc>
            <a:spcBef>
              <a:spcPct val="0"/>
            </a:spcBef>
            <a:spcAft>
              <a:spcPct val="20000"/>
            </a:spcAft>
            <a:buNone/>
          </a:pPr>
          <a:r>
            <a:rPr lang="en-US" sz="2300" kern="1200" dirty="0">
              <a:solidFill>
                <a:srgbClr val="000000">
                  <a:hueOff val="0"/>
                  <a:satOff val="0"/>
                  <a:lumOff val="0"/>
                  <a:alphaOff val="0"/>
                </a:srgbClr>
              </a:solidFill>
              <a:latin typeface="Verdana"/>
              <a:ea typeface="+mn-ea"/>
              <a:cs typeface="+mn-cs"/>
            </a:rPr>
            <a:t>Running</a:t>
          </a:r>
          <a:r>
            <a:rPr lang="en-US" sz="2300" kern="1200" dirty="0">
              <a:latin typeface="Verdana"/>
              <a:ea typeface="+mn-ea"/>
              <a:cs typeface="+mn-cs"/>
            </a:rPr>
            <a:t> applications in data centers owned by third parties and accessed via the internet</a:t>
          </a:r>
        </a:p>
      </dsp:txBody>
      <dsp:txXfrm rot="-5400000">
        <a:off x="1299790" y="59387"/>
        <a:ext cx="9353140" cy="1089112"/>
      </dsp:txXfrm>
    </dsp:sp>
    <dsp:sp modelId="{5F7980EE-6ED2-454C-A9A5-BF60EDC18F11}">
      <dsp:nvSpPr>
        <dsp:cNvPr id="0" name=""/>
        <dsp:cNvSpPr/>
      </dsp:nvSpPr>
      <dsp:spPr>
        <a:xfrm rot="5400000">
          <a:off x="-278526" y="1944113"/>
          <a:ext cx="1856843" cy="1299790"/>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loud Platforms</a:t>
          </a:r>
        </a:p>
      </dsp:txBody>
      <dsp:txXfrm rot="-5400000">
        <a:off x="1" y="2315481"/>
        <a:ext cx="1299790" cy="557053"/>
      </dsp:txXfrm>
    </dsp:sp>
    <dsp:sp modelId="{2394C5A8-9809-4B0B-ACAA-AE0249653720}">
      <dsp:nvSpPr>
        <dsp:cNvPr id="0" name=""/>
        <dsp:cNvSpPr/>
      </dsp:nvSpPr>
      <dsp:spPr>
        <a:xfrm rot="5400000">
          <a:off x="5402345" y="-2436968"/>
          <a:ext cx="1206948" cy="9412058"/>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150000"/>
            </a:lnSpc>
            <a:spcBef>
              <a:spcPct val="0"/>
            </a:spcBef>
            <a:spcAft>
              <a:spcPct val="15000"/>
            </a:spcAft>
            <a:buFontTx/>
            <a:buNone/>
          </a:pPr>
          <a:r>
            <a:rPr lang="en-US" sz="2400" kern="1200" dirty="0"/>
            <a:t>Computing resources at data centers across the internet.</a:t>
          </a:r>
        </a:p>
      </dsp:txBody>
      <dsp:txXfrm rot="-5400000">
        <a:off x="1299790" y="1724505"/>
        <a:ext cx="9353140" cy="1089112"/>
      </dsp:txXfrm>
    </dsp:sp>
    <dsp:sp modelId="{C4C0717A-15D9-42A1-AF6E-4B02FA244B17}">
      <dsp:nvSpPr>
        <dsp:cNvPr id="0" name=""/>
        <dsp:cNvSpPr/>
      </dsp:nvSpPr>
      <dsp:spPr>
        <a:xfrm rot="5400000">
          <a:off x="-278526" y="3609231"/>
          <a:ext cx="1856843" cy="1299790"/>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Private Clouds</a:t>
          </a:r>
        </a:p>
      </dsp:txBody>
      <dsp:txXfrm rot="-5400000">
        <a:off x="1" y="3980599"/>
        <a:ext cx="1299790" cy="557053"/>
      </dsp:txXfrm>
    </dsp:sp>
    <dsp:sp modelId="{553A845E-ADCF-480B-B1F3-222868D30353}">
      <dsp:nvSpPr>
        <dsp:cNvPr id="0" name=""/>
        <dsp:cNvSpPr/>
      </dsp:nvSpPr>
      <dsp:spPr>
        <a:xfrm rot="5400000">
          <a:off x="5402345" y="-771849"/>
          <a:ext cx="1206948" cy="9412058"/>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150000"/>
            </a:lnSpc>
            <a:spcBef>
              <a:spcPct val="0"/>
            </a:spcBef>
            <a:spcAft>
              <a:spcPct val="15000"/>
            </a:spcAft>
            <a:buFontTx/>
            <a:buNone/>
          </a:pPr>
          <a:r>
            <a:rPr lang="en-US" sz="2400" kern="1200" dirty="0"/>
            <a:t>Cloud platforms used by a single organization inside their own on-premise data center</a:t>
          </a:r>
        </a:p>
      </dsp:txBody>
      <dsp:txXfrm rot="-5400000">
        <a:off x="1299790" y="3389624"/>
        <a:ext cx="9353140" cy="108911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68F560-4B97-487B-84DB-96A8ADD769B2}">
      <dsp:nvSpPr>
        <dsp:cNvPr id="0" name=""/>
        <dsp:cNvSpPr/>
      </dsp:nvSpPr>
      <dsp:spPr>
        <a:xfrm>
          <a:off x="506235" y="932379"/>
          <a:ext cx="9112237" cy="828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b" anchorCtr="0">
          <a:noAutofit/>
        </a:bodyPr>
        <a:lstStyle/>
        <a:p>
          <a:pPr marL="0" lvl="0" indent="0" algn="l" defTabSz="1600200">
            <a:lnSpc>
              <a:spcPct val="90000"/>
            </a:lnSpc>
            <a:spcBef>
              <a:spcPct val="0"/>
            </a:spcBef>
            <a:spcAft>
              <a:spcPct val="35000"/>
            </a:spcAft>
            <a:buNone/>
          </a:pPr>
          <a:r>
            <a:rPr lang="en-US" sz="3600" kern="1200" dirty="0"/>
            <a:t>Less familiarity</a:t>
          </a:r>
        </a:p>
      </dsp:txBody>
      <dsp:txXfrm>
        <a:off x="506235" y="932379"/>
        <a:ext cx="9112237" cy="828385"/>
      </dsp:txXfrm>
    </dsp:sp>
    <dsp:sp modelId="{9A1CD9D9-750B-4F4F-9B04-CD9EAF98A833}">
      <dsp:nvSpPr>
        <dsp:cNvPr id="0" name=""/>
        <dsp:cNvSpPr/>
      </dsp:nvSpPr>
      <dsp:spPr>
        <a:xfrm>
          <a:off x="506235" y="1760765"/>
          <a:ext cx="1214964" cy="202494"/>
        </a:xfrm>
        <a:prstGeom prst="parallelogram">
          <a:avLst>
            <a:gd name="adj" fmla="val 14084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08E809-F190-4574-8566-E644C1A8F160}">
      <dsp:nvSpPr>
        <dsp:cNvPr id="0" name=""/>
        <dsp:cNvSpPr/>
      </dsp:nvSpPr>
      <dsp:spPr>
        <a:xfrm>
          <a:off x="1792073" y="1760765"/>
          <a:ext cx="1214964" cy="202494"/>
        </a:xfrm>
        <a:prstGeom prst="parallelogram">
          <a:avLst>
            <a:gd name="adj" fmla="val 140840"/>
          </a:avLst>
        </a:prstGeom>
        <a:solidFill>
          <a:schemeClr val="accent2">
            <a:hueOff val="253466"/>
            <a:satOff val="-651"/>
            <a:lumOff val="-1627"/>
            <a:alphaOff val="0"/>
          </a:schemeClr>
        </a:solidFill>
        <a:ln w="12700" cap="flat" cmpd="sng" algn="ctr">
          <a:solidFill>
            <a:schemeClr val="accent2">
              <a:hueOff val="253466"/>
              <a:satOff val="-651"/>
              <a:lumOff val="-162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50135F-336F-42EC-95EB-0229BA4B822C}">
      <dsp:nvSpPr>
        <dsp:cNvPr id="0" name=""/>
        <dsp:cNvSpPr/>
      </dsp:nvSpPr>
      <dsp:spPr>
        <a:xfrm>
          <a:off x="3077911" y="1760765"/>
          <a:ext cx="1214964" cy="202494"/>
        </a:xfrm>
        <a:prstGeom prst="parallelogram">
          <a:avLst>
            <a:gd name="adj" fmla="val 140840"/>
          </a:avLst>
        </a:prstGeom>
        <a:solidFill>
          <a:schemeClr val="accent2">
            <a:hueOff val="506932"/>
            <a:satOff val="-1301"/>
            <a:lumOff val="-3255"/>
            <a:alphaOff val="0"/>
          </a:schemeClr>
        </a:solidFill>
        <a:ln w="12700" cap="flat" cmpd="sng" algn="ctr">
          <a:solidFill>
            <a:schemeClr val="accent2">
              <a:hueOff val="506932"/>
              <a:satOff val="-1301"/>
              <a:lumOff val="-32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6D3DA6-41C7-4E3F-9668-B8035C9E7479}">
      <dsp:nvSpPr>
        <dsp:cNvPr id="0" name=""/>
        <dsp:cNvSpPr/>
      </dsp:nvSpPr>
      <dsp:spPr>
        <a:xfrm>
          <a:off x="4363749" y="1760765"/>
          <a:ext cx="1214964" cy="202494"/>
        </a:xfrm>
        <a:prstGeom prst="parallelogram">
          <a:avLst>
            <a:gd name="adj" fmla="val 140840"/>
          </a:avLst>
        </a:prstGeom>
        <a:solidFill>
          <a:schemeClr val="accent2">
            <a:hueOff val="760397"/>
            <a:satOff val="-1952"/>
            <a:lumOff val="-4882"/>
            <a:alphaOff val="0"/>
          </a:schemeClr>
        </a:solidFill>
        <a:ln w="12700" cap="flat" cmpd="sng" algn="ctr">
          <a:solidFill>
            <a:schemeClr val="accent2">
              <a:hueOff val="760397"/>
              <a:satOff val="-1952"/>
              <a:lumOff val="-488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A4DC12-7B25-4686-A334-054B9AA8D154}">
      <dsp:nvSpPr>
        <dsp:cNvPr id="0" name=""/>
        <dsp:cNvSpPr/>
      </dsp:nvSpPr>
      <dsp:spPr>
        <a:xfrm>
          <a:off x="5649587" y="1760765"/>
          <a:ext cx="1214964" cy="202494"/>
        </a:xfrm>
        <a:prstGeom prst="parallelogram">
          <a:avLst>
            <a:gd name="adj" fmla="val 140840"/>
          </a:avLst>
        </a:prstGeom>
        <a:solidFill>
          <a:schemeClr val="accent2">
            <a:hueOff val="1013863"/>
            <a:satOff val="-2603"/>
            <a:lumOff val="-6509"/>
            <a:alphaOff val="0"/>
          </a:schemeClr>
        </a:solidFill>
        <a:ln w="12700" cap="flat" cmpd="sng" algn="ctr">
          <a:solidFill>
            <a:schemeClr val="accent2">
              <a:hueOff val="1013863"/>
              <a:satOff val="-2603"/>
              <a:lumOff val="-650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455300-7285-429D-A54A-673C05B710CC}">
      <dsp:nvSpPr>
        <dsp:cNvPr id="0" name=""/>
        <dsp:cNvSpPr/>
      </dsp:nvSpPr>
      <dsp:spPr>
        <a:xfrm>
          <a:off x="6935424" y="1760765"/>
          <a:ext cx="1214964" cy="202494"/>
        </a:xfrm>
        <a:prstGeom prst="parallelogram">
          <a:avLst>
            <a:gd name="adj" fmla="val 140840"/>
          </a:avLst>
        </a:prstGeom>
        <a:solidFill>
          <a:schemeClr val="accent2">
            <a:hueOff val="1267329"/>
            <a:satOff val="-3253"/>
            <a:lumOff val="-8137"/>
            <a:alphaOff val="0"/>
          </a:schemeClr>
        </a:solidFill>
        <a:ln w="12700" cap="flat" cmpd="sng" algn="ctr">
          <a:solidFill>
            <a:schemeClr val="accent2">
              <a:hueOff val="1267329"/>
              <a:satOff val="-3253"/>
              <a:lumOff val="-81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9F137B-52FA-4702-AC12-BA375C60538C}">
      <dsp:nvSpPr>
        <dsp:cNvPr id="0" name=""/>
        <dsp:cNvSpPr/>
      </dsp:nvSpPr>
      <dsp:spPr>
        <a:xfrm>
          <a:off x="8221262" y="1760765"/>
          <a:ext cx="1214964" cy="202494"/>
        </a:xfrm>
        <a:prstGeom prst="parallelogram">
          <a:avLst>
            <a:gd name="adj" fmla="val 140840"/>
          </a:avLst>
        </a:prstGeom>
        <a:solidFill>
          <a:schemeClr val="accent2">
            <a:hueOff val="1520795"/>
            <a:satOff val="-3904"/>
            <a:lumOff val="-9764"/>
            <a:alphaOff val="0"/>
          </a:schemeClr>
        </a:solidFill>
        <a:ln w="12700" cap="flat" cmpd="sng" algn="ctr">
          <a:solidFill>
            <a:schemeClr val="accent2">
              <a:hueOff val="1520795"/>
              <a:satOff val="-3904"/>
              <a:lumOff val="-976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B437BC-8901-48FC-9076-105F2B43510E}">
      <dsp:nvSpPr>
        <dsp:cNvPr id="0" name=""/>
        <dsp:cNvSpPr/>
      </dsp:nvSpPr>
      <dsp:spPr>
        <a:xfrm>
          <a:off x="506235" y="2066538"/>
          <a:ext cx="9112237" cy="828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b" anchorCtr="0">
          <a:noAutofit/>
        </a:bodyPr>
        <a:lstStyle/>
        <a:p>
          <a:pPr marL="0" lvl="0" indent="0" algn="l" defTabSz="1600200">
            <a:lnSpc>
              <a:spcPct val="90000"/>
            </a:lnSpc>
            <a:spcBef>
              <a:spcPct val="0"/>
            </a:spcBef>
            <a:spcAft>
              <a:spcPct val="35000"/>
            </a:spcAft>
            <a:buNone/>
          </a:pPr>
          <a:r>
            <a:rPr lang="en-US" sz="3600" kern="1200" dirty="0"/>
            <a:t>Need to work with constraints</a:t>
          </a:r>
        </a:p>
      </dsp:txBody>
      <dsp:txXfrm>
        <a:off x="506235" y="2066538"/>
        <a:ext cx="9112237" cy="828385"/>
      </dsp:txXfrm>
    </dsp:sp>
    <dsp:sp modelId="{90FC1EC3-DEE6-4556-B4C8-B049B599FB42}">
      <dsp:nvSpPr>
        <dsp:cNvPr id="0" name=""/>
        <dsp:cNvSpPr/>
      </dsp:nvSpPr>
      <dsp:spPr>
        <a:xfrm>
          <a:off x="506235" y="2894923"/>
          <a:ext cx="1214964" cy="202494"/>
        </a:xfrm>
        <a:prstGeom prst="parallelogram">
          <a:avLst>
            <a:gd name="adj" fmla="val 140840"/>
          </a:avLst>
        </a:prstGeom>
        <a:solidFill>
          <a:schemeClr val="accent2">
            <a:hueOff val="1774261"/>
            <a:satOff val="-4555"/>
            <a:lumOff val="-11391"/>
            <a:alphaOff val="0"/>
          </a:schemeClr>
        </a:solidFill>
        <a:ln w="12700" cap="flat" cmpd="sng" algn="ctr">
          <a:solidFill>
            <a:schemeClr val="accent2">
              <a:hueOff val="1774261"/>
              <a:satOff val="-4555"/>
              <a:lumOff val="-113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16AFA5-7CB1-4DB6-8F76-ADD862C3F086}">
      <dsp:nvSpPr>
        <dsp:cNvPr id="0" name=""/>
        <dsp:cNvSpPr/>
      </dsp:nvSpPr>
      <dsp:spPr>
        <a:xfrm>
          <a:off x="1792073" y="2894923"/>
          <a:ext cx="1214964" cy="202494"/>
        </a:xfrm>
        <a:prstGeom prst="parallelogram">
          <a:avLst>
            <a:gd name="adj" fmla="val 140840"/>
          </a:avLst>
        </a:prstGeom>
        <a:solidFill>
          <a:schemeClr val="accent2">
            <a:hueOff val="2027726"/>
            <a:satOff val="-5205"/>
            <a:lumOff val="-13018"/>
            <a:alphaOff val="0"/>
          </a:schemeClr>
        </a:solidFill>
        <a:ln w="12700" cap="flat" cmpd="sng" algn="ctr">
          <a:solidFill>
            <a:schemeClr val="accent2">
              <a:hueOff val="2027726"/>
              <a:satOff val="-5205"/>
              <a:lumOff val="-1301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F25226-7237-4D8E-92BF-8D68ABC6FFB8}">
      <dsp:nvSpPr>
        <dsp:cNvPr id="0" name=""/>
        <dsp:cNvSpPr/>
      </dsp:nvSpPr>
      <dsp:spPr>
        <a:xfrm>
          <a:off x="3077911" y="2894923"/>
          <a:ext cx="1214964" cy="202494"/>
        </a:xfrm>
        <a:prstGeom prst="parallelogram">
          <a:avLst>
            <a:gd name="adj" fmla="val 140840"/>
          </a:avLst>
        </a:prstGeom>
        <a:solidFill>
          <a:schemeClr val="accent2">
            <a:hueOff val="2281192"/>
            <a:satOff val="-5856"/>
            <a:lumOff val="-14646"/>
            <a:alphaOff val="0"/>
          </a:schemeClr>
        </a:solidFill>
        <a:ln w="12700" cap="flat" cmpd="sng" algn="ctr">
          <a:solidFill>
            <a:schemeClr val="accent2">
              <a:hueOff val="2281192"/>
              <a:satOff val="-5856"/>
              <a:lumOff val="-146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547312-D9F8-4350-86A1-1C040B38C29C}">
      <dsp:nvSpPr>
        <dsp:cNvPr id="0" name=""/>
        <dsp:cNvSpPr/>
      </dsp:nvSpPr>
      <dsp:spPr>
        <a:xfrm>
          <a:off x="4363749" y="2894923"/>
          <a:ext cx="1214964" cy="202494"/>
        </a:xfrm>
        <a:prstGeom prst="parallelogram">
          <a:avLst>
            <a:gd name="adj" fmla="val 140840"/>
          </a:avLst>
        </a:prstGeom>
        <a:solidFill>
          <a:schemeClr val="accent2">
            <a:hueOff val="2534658"/>
            <a:satOff val="-6506"/>
            <a:lumOff val="-16273"/>
            <a:alphaOff val="0"/>
          </a:schemeClr>
        </a:solidFill>
        <a:ln w="12700" cap="flat" cmpd="sng" algn="ctr">
          <a:solidFill>
            <a:schemeClr val="accent2">
              <a:hueOff val="2534658"/>
              <a:satOff val="-6506"/>
              <a:lumOff val="-1627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9D93B-368C-47DA-ABF0-E96E4D35BCB1}">
      <dsp:nvSpPr>
        <dsp:cNvPr id="0" name=""/>
        <dsp:cNvSpPr/>
      </dsp:nvSpPr>
      <dsp:spPr>
        <a:xfrm>
          <a:off x="5649587" y="2894923"/>
          <a:ext cx="1214964" cy="202494"/>
        </a:xfrm>
        <a:prstGeom prst="parallelogram">
          <a:avLst>
            <a:gd name="adj" fmla="val 140840"/>
          </a:avLst>
        </a:prstGeom>
        <a:solidFill>
          <a:schemeClr val="accent2">
            <a:hueOff val="2788124"/>
            <a:satOff val="-7157"/>
            <a:lumOff val="-17900"/>
            <a:alphaOff val="0"/>
          </a:schemeClr>
        </a:solidFill>
        <a:ln w="12700" cap="flat" cmpd="sng" algn="ctr">
          <a:solidFill>
            <a:schemeClr val="accent2">
              <a:hueOff val="2788124"/>
              <a:satOff val="-7157"/>
              <a:lumOff val="-179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D96B1-434D-4797-9310-486419B3E7A0}">
      <dsp:nvSpPr>
        <dsp:cNvPr id="0" name=""/>
        <dsp:cNvSpPr/>
      </dsp:nvSpPr>
      <dsp:spPr>
        <a:xfrm>
          <a:off x="6935424" y="2894923"/>
          <a:ext cx="1214964" cy="202494"/>
        </a:xfrm>
        <a:prstGeom prst="parallelogram">
          <a:avLst>
            <a:gd name="adj" fmla="val 140840"/>
          </a:avLst>
        </a:prstGeom>
        <a:solidFill>
          <a:schemeClr val="accent2">
            <a:hueOff val="3041590"/>
            <a:satOff val="-7808"/>
            <a:lumOff val="-19528"/>
            <a:alphaOff val="0"/>
          </a:schemeClr>
        </a:solidFill>
        <a:ln w="12700" cap="flat" cmpd="sng" algn="ctr">
          <a:solidFill>
            <a:schemeClr val="accent2">
              <a:hueOff val="3041590"/>
              <a:satOff val="-7808"/>
              <a:lumOff val="-195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A3BC49-B45C-4005-879C-11604E3F08BF}">
      <dsp:nvSpPr>
        <dsp:cNvPr id="0" name=""/>
        <dsp:cNvSpPr/>
      </dsp:nvSpPr>
      <dsp:spPr>
        <a:xfrm>
          <a:off x="8221262" y="2894923"/>
          <a:ext cx="1214964" cy="202494"/>
        </a:xfrm>
        <a:prstGeom prst="parallelogram">
          <a:avLst>
            <a:gd name="adj" fmla="val 140840"/>
          </a:avLst>
        </a:prstGeom>
        <a:solidFill>
          <a:schemeClr val="accent2">
            <a:hueOff val="3295055"/>
            <a:satOff val="-8458"/>
            <a:lumOff val="-21155"/>
            <a:alphaOff val="0"/>
          </a:schemeClr>
        </a:solidFill>
        <a:ln w="12700" cap="flat" cmpd="sng" algn="ctr">
          <a:solidFill>
            <a:schemeClr val="accent2">
              <a:hueOff val="3295055"/>
              <a:satOff val="-8458"/>
              <a:lumOff val="-211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A8C97A-4062-4C56-BF39-658B22A4C2B3}">
      <dsp:nvSpPr>
        <dsp:cNvPr id="0" name=""/>
        <dsp:cNvSpPr/>
      </dsp:nvSpPr>
      <dsp:spPr>
        <a:xfrm>
          <a:off x="506235" y="3200696"/>
          <a:ext cx="9112237" cy="828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b" anchorCtr="0">
          <a:noAutofit/>
        </a:bodyPr>
        <a:lstStyle/>
        <a:p>
          <a:pPr marL="0" lvl="0" indent="0" algn="l" defTabSz="1600200">
            <a:lnSpc>
              <a:spcPct val="90000"/>
            </a:lnSpc>
            <a:spcBef>
              <a:spcPct val="0"/>
            </a:spcBef>
            <a:spcAft>
              <a:spcPct val="35000"/>
            </a:spcAft>
            <a:buNone/>
          </a:pPr>
          <a:r>
            <a:rPr lang="en-US" sz="3600" kern="1200" dirty="0"/>
            <a:t>Vendor lock-in</a:t>
          </a:r>
        </a:p>
      </dsp:txBody>
      <dsp:txXfrm>
        <a:off x="506235" y="3200696"/>
        <a:ext cx="9112237" cy="828385"/>
      </dsp:txXfrm>
    </dsp:sp>
    <dsp:sp modelId="{4AF8C838-FAB6-4065-8B3D-4A3C67CDDE37}">
      <dsp:nvSpPr>
        <dsp:cNvPr id="0" name=""/>
        <dsp:cNvSpPr/>
      </dsp:nvSpPr>
      <dsp:spPr>
        <a:xfrm>
          <a:off x="506235" y="4029082"/>
          <a:ext cx="1214964" cy="202494"/>
        </a:xfrm>
        <a:prstGeom prst="parallelogram">
          <a:avLst>
            <a:gd name="adj" fmla="val 140840"/>
          </a:avLst>
        </a:prstGeom>
        <a:solidFill>
          <a:schemeClr val="accent2">
            <a:hueOff val="3548521"/>
            <a:satOff val="-9109"/>
            <a:lumOff val="-22782"/>
            <a:alphaOff val="0"/>
          </a:schemeClr>
        </a:solidFill>
        <a:ln w="12700" cap="flat" cmpd="sng" algn="ctr">
          <a:solidFill>
            <a:schemeClr val="accent2">
              <a:hueOff val="3548521"/>
              <a:satOff val="-9109"/>
              <a:lumOff val="-2278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ECA08C-8262-4479-A631-1B237251643F}">
      <dsp:nvSpPr>
        <dsp:cNvPr id="0" name=""/>
        <dsp:cNvSpPr/>
      </dsp:nvSpPr>
      <dsp:spPr>
        <a:xfrm>
          <a:off x="1792073" y="4029082"/>
          <a:ext cx="1214964" cy="202494"/>
        </a:xfrm>
        <a:prstGeom prst="parallelogram">
          <a:avLst>
            <a:gd name="adj" fmla="val 140840"/>
          </a:avLst>
        </a:prstGeom>
        <a:solidFill>
          <a:schemeClr val="accent2">
            <a:hueOff val="3801987"/>
            <a:satOff val="-9760"/>
            <a:lumOff val="-24410"/>
            <a:alphaOff val="0"/>
          </a:schemeClr>
        </a:solidFill>
        <a:ln w="12700" cap="flat" cmpd="sng" algn="ctr">
          <a:solidFill>
            <a:schemeClr val="accent2">
              <a:hueOff val="3801987"/>
              <a:satOff val="-9760"/>
              <a:lumOff val="-2441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7A0A96-EF8A-44B3-9A44-E6E11FC8A596}">
      <dsp:nvSpPr>
        <dsp:cNvPr id="0" name=""/>
        <dsp:cNvSpPr/>
      </dsp:nvSpPr>
      <dsp:spPr>
        <a:xfrm>
          <a:off x="3077911" y="4029082"/>
          <a:ext cx="1214964" cy="202494"/>
        </a:xfrm>
        <a:prstGeom prst="parallelogram">
          <a:avLst>
            <a:gd name="adj" fmla="val 140840"/>
          </a:avLst>
        </a:prstGeom>
        <a:solidFill>
          <a:schemeClr val="accent2">
            <a:hueOff val="4055453"/>
            <a:satOff val="-10410"/>
            <a:lumOff val="-26037"/>
            <a:alphaOff val="0"/>
          </a:schemeClr>
        </a:solidFill>
        <a:ln w="12700" cap="flat" cmpd="sng" algn="ctr">
          <a:solidFill>
            <a:schemeClr val="accent2">
              <a:hueOff val="4055453"/>
              <a:satOff val="-10410"/>
              <a:lumOff val="-260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FF47CF-6E7A-4189-AFFA-DCCDDFEA25CE}">
      <dsp:nvSpPr>
        <dsp:cNvPr id="0" name=""/>
        <dsp:cNvSpPr/>
      </dsp:nvSpPr>
      <dsp:spPr>
        <a:xfrm>
          <a:off x="4363749" y="4029082"/>
          <a:ext cx="1214964" cy="202494"/>
        </a:xfrm>
        <a:prstGeom prst="parallelogram">
          <a:avLst>
            <a:gd name="adj" fmla="val 140840"/>
          </a:avLst>
        </a:prstGeom>
        <a:solidFill>
          <a:schemeClr val="accent2">
            <a:hueOff val="4308919"/>
            <a:satOff val="-11061"/>
            <a:lumOff val="-27664"/>
            <a:alphaOff val="0"/>
          </a:schemeClr>
        </a:solidFill>
        <a:ln w="12700" cap="flat" cmpd="sng" algn="ctr">
          <a:solidFill>
            <a:schemeClr val="accent2">
              <a:hueOff val="4308919"/>
              <a:satOff val="-11061"/>
              <a:lumOff val="-2766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D5D7C0-8377-4DC8-967F-E22A0B1C2C65}">
      <dsp:nvSpPr>
        <dsp:cNvPr id="0" name=""/>
        <dsp:cNvSpPr/>
      </dsp:nvSpPr>
      <dsp:spPr>
        <a:xfrm>
          <a:off x="5649587" y="4029082"/>
          <a:ext cx="1214964" cy="202494"/>
        </a:xfrm>
        <a:prstGeom prst="parallelogram">
          <a:avLst>
            <a:gd name="adj" fmla="val 140840"/>
          </a:avLst>
        </a:prstGeom>
        <a:solidFill>
          <a:schemeClr val="accent2">
            <a:hueOff val="4562384"/>
            <a:satOff val="-11712"/>
            <a:lumOff val="-29291"/>
            <a:alphaOff val="0"/>
          </a:schemeClr>
        </a:solidFill>
        <a:ln w="12700" cap="flat" cmpd="sng" algn="ctr">
          <a:solidFill>
            <a:schemeClr val="accent2">
              <a:hueOff val="4562384"/>
              <a:satOff val="-11712"/>
              <a:lumOff val="-292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640E5A-FCF4-4AE6-B161-147867B8F774}">
      <dsp:nvSpPr>
        <dsp:cNvPr id="0" name=""/>
        <dsp:cNvSpPr/>
      </dsp:nvSpPr>
      <dsp:spPr>
        <a:xfrm>
          <a:off x="6935424" y="4029082"/>
          <a:ext cx="1214964" cy="202494"/>
        </a:xfrm>
        <a:prstGeom prst="parallelogram">
          <a:avLst>
            <a:gd name="adj" fmla="val 140840"/>
          </a:avLst>
        </a:prstGeom>
        <a:solidFill>
          <a:schemeClr val="accent2">
            <a:hueOff val="4815850"/>
            <a:satOff val="-12362"/>
            <a:lumOff val="-30919"/>
            <a:alphaOff val="0"/>
          </a:schemeClr>
        </a:solidFill>
        <a:ln w="12700" cap="flat" cmpd="sng" algn="ctr">
          <a:solidFill>
            <a:schemeClr val="accent2">
              <a:hueOff val="4815850"/>
              <a:satOff val="-12362"/>
              <a:lumOff val="-3091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B718D9-CE0E-4EB5-8BD8-67BF5D454FEA}">
      <dsp:nvSpPr>
        <dsp:cNvPr id="0" name=""/>
        <dsp:cNvSpPr/>
      </dsp:nvSpPr>
      <dsp:spPr>
        <a:xfrm>
          <a:off x="8221262" y="4029082"/>
          <a:ext cx="1214964" cy="202494"/>
        </a:xfrm>
        <a:prstGeom prst="parallelogram">
          <a:avLst>
            <a:gd name="adj" fmla="val 140840"/>
          </a:avLst>
        </a:prstGeom>
        <a:solidFill>
          <a:schemeClr val="accent2">
            <a:hueOff val="5069316"/>
            <a:satOff val="-13013"/>
            <a:lumOff val="-32546"/>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AE4029-A13B-4782-AFDF-6B88E4FDE0A0}">
      <dsp:nvSpPr>
        <dsp:cNvPr id="0" name=""/>
        <dsp:cNvSpPr/>
      </dsp:nvSpPr>
      <dsp:spPr>
        <a:xfrm>
          <a:off x="441425" y="0"/>
          <a:ext cx="2964415" cy="2964408"/>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mplete Control</a:t>
          </a:r>
        </a:p>
      </dsp:txBody>
      <dsp:txXfrm>
        <a:off x="875554" y="434128"/>
        <a:ext cx="2096157" cy="2096152"/>
      </dsp:txXfrm>
    </dsp:sp>
    <dsp:sp modelId="{6D2E4325-65D5-4C36-83F3-5FAA39EDDC76}">
      <dsp:nvSpPr>
        <dsp:cNvPr id="0" name=""/>
        <dsp:cNvSpPr/>
      </dsp:nvSpPr>
      <dsp:spPr>
        <a:xfrm>
          <a:off x="1965774" y="1977096"/>
          <a:ext cx="2964415" cy="2964408"/>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Security</a:t>
          </a:r>
        </a:p>
      </dsp:txBody>
      <dsp:txXfrm>
        <a:off x="2399903" y="2411224"/>
        <a:ext cx="2096157" cy="2096152"/>
      </dsp:txXfrm>
    </dsp:sp>
    <dsp:sp modelId="{2D5DA6B6-1D3B-4F5E-8AD3-B581B005C841}">
      <dsp:nvSpPr>
        <dsp:cNvPr id="0" name=""/>
        <dsp:cNvSpPr/>
      </dsp:nvSpPr>
      <dsp:spPr>
        <a:xfrm>
          <a:off x="3491030" y="0"/>
          <a:ext cx="2964415" cy="2964408"/>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Superior Performance</a:t>
          </a:r>
        </a:p>
      </dsp:txBody>
      <dsp:txXfrm>
        <a:off x="3925159" y="434128"/>
        <a:ext cx="2096157" cy="2096152"/>
      </dsp:txXfrm>
    </dsp:sp>
    <dsp:sp modelId="{405227A5-096D-43C3-BC58-5268BBE481D0}">
      <dsp:nvSpPr>
        <dsp:cNvPr id="0" name=""/>
        <dsp:cNvSpPr/>
      </dsp:nvSpPr>
      <dsp:spPr>
        <a:xfrm>
          <a:off x="5015380" y="1977096"/>
          <a:ext cx="2964415" cy="2964408"/>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Easy customization</a:t>
          </a:r>
        </a:p>
      </dsp:txBody>
      <dsp:txXfrm>
        <a:off x="5449509" y="2411224"/>
        <a:ext cx="2096157" cy="2096152"/>
      </dsp:txXfrm>
    </dsp:sp>
    <dsp:sp modelId="{529274E0-F4AE-4D1F-9479-0D3A8895E850}">
      <dsp:nvSpPr>
        <dsp:cNvPr id="0" name=""/>
        <dsp:cNvSpPr/>
      </dsp:nvSpPr>
      <dsp:spPr>
        <a:xfrm>
          <a:off x="6539729" y="0"/>
          <a:ext cx="2964415" cy="2964408"/>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mpliance</a:t>
          </a:r>
        </a:p>
      </dsp:txBody>
      <dsp:txXfrm>
        <a:off x="6973858" y="434128"/>
        <a:ext cx="2096157" cy="209615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F9774-3517-4BA1-A083-545F45BFEC31}">
      <dsp:nvSpPr>
        <dsp:cNvPr id="0" name=""/>
        <dsp:cNvSpPr/>
      </dsp:nvSpPr>
      <dsp:spPr>
        <a:xfrm>
          <a:off x="6788252" y="1070853"/>
          <a:ext cx="2836665" cy="283719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A1F490-1B08-4E20-AF90-5EDB20E02BB8}">
      <dsp:nvSpPr>
        <dsp:cNvPr id="0" name=""/>
        <dsp:cNvSpPr/>
      </dsp:nvSpPr>
      <dsp:spPr>
        <a:xfrm>
          <a:off x="6882439" y="1165443"/>
          <a:ext cx="2648292" cy="2648010"/>
        </a:xfrm>
        <a:prstGeom prst="ellipse">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Private Cloud</a:t>
          </a:r>
        </a:p>
      </dsp:txBody>
      <dsp:txXfrm>
        <a:off x="7261030" y="1543801"/>
        <a:ext cx="1891110" cy="1891294"/>
      </dsp:txXfrm>
    </dsp:sp>
    <dsp:sp modelId="{F55E2B42-1505-48F7-9453-EFBD0D97572C}">
      <dsp:nvSpPr>
        <dsp:cNvPr id="0" name=""/>
        <dsp:cNvSpPr/>
      </dsp:nvSpPr>
      <dsp:spPr>
        <a:xfrm rot="2700000">
          <a:off x="3859894" y="1074283"/>
          <a:ext cx="2829832" cy="2829832"/>
        </a:xfrm>
        <a:prstGeom prst="teardrop">
          <a:avLst>
            <a:gd name="adj" fmla="val 100000"/>
          </a:avLst>
        </a:prstGeom>
        <a:solidFill>
          <a:schemeClr val="accent2">
            <a:hueOff val="2534658"/>
            <a:satOff val="-6506"/>
            <a:lumOff val="-162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C9BB21-7BA6-4FF1-AB85-C26DF1B3B940}">
      <dsp:nvSpPr>
        <dsp:cNvPr id="0" name=""/>
        <dsp:cNvSpPr/>
      </dsp:nvSpPr>
      <dsp:spPr>
        <a:xfrm>
          <a:off x="3950664" y="1165443"/>
          <a:ext cx="2648292" cy="2648010"/>
        </a:xfrm>
        <a:prstGeom prst="ellipse">
          <a:avLst/>
        </a:prstGeom>
        <a:solidFill>
          <a:schemeClr val="lt1">
            <a:alpha val="90000"/>
            <a:hueOff val="0"/>
            <a:satOff val="0"/>
            <a:lumOff val="0"/>
            <a:alphaOff val="0"/>
          </a:schemeClr>
        </a:solidFill>
        <a:ln w="12700" cap="flat" cmpd="sng" algn="ctr">
          <a:solidFill>
            <a:schemeClr val="accent2">
              <a:hueOff val="2534658"/>
              <a:satOff val="-6506"/>
              <a:lumOff val="-1627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Hybrid Cloud</a:t>
          </a:r>
        </a:p>
      </dsp:txBody>
      <dsp:txXfrm>
        <a:off x="4329255" y="1543801"/>
        <a:ext cx="1891110" cy="1891294"/>
      </dsp:txXfrm>
    </dsp:sp>
    <dsp:sp modelId="{EEC2747F-4A51-463B-AAD3-D8788028B2E3}">
      <dsp:nvSpPr>
        <dsp:cNvPr id="0" name=""/>
        <dsp:cNvSpPr/>
      </dsp:nvSpPr>
      <dsp:spPr>
        <a:xfrm rot="2700000">
          <a:off x="928119" y="1074283"/>
          <a:ext cx="2829832" cy="2829832"/>
        </a:xfrm>
        <a:prstGeom prst="teardrop">
          <a:avLst>
            <a:gd name="adj" fmla="val 100000"/>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8DC39A-53FF-4981-B6D3-8A31E6FFE505}">
      <dsp:nvSpPr>
        <dsp:cNvPr id="0" name=""/>
        <dsp:cNvSpPr/>
      </dsp:nvSpPr>
      <dsp:spPr>
        <a:xfrm>
          <a:off x="1018889" y="1165443"/>
          <a:ext cx="2648292" cy="2648010"/>
        </a:xfrm>
        <a:prstGeom prst="ellipse">
          <a:avLst/>
        </a:prstGeom>
        <a:solidFill>
          <a:schemeClr val="lt1">
            <a:alpha val="90000"/>
            <a:hueOff val="0"/>
            <a:satOff val="0"/>
            <a:lumOff val="0"/>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Public Cloud</a:t>
          </a:r>
        </a:p>
      </dsp:txBody>
      <dsp:txXfrm>
        <a:off x="1397480" y="1543801"/>
        <a:ext cx="1891110" cy="18912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E51E63-C9D2-4F96-B1DB-7066989DC23B}">
      <dsp:nvSpPr>
        <dsp:cNvPr id="0" name=""/>
        <dsp:cNvSpPr/>
      </dsp:nvSpPr>
      <dsp:spPr>
        <a:xfrm rot="16200000">
          <a:off x="-1563312" y="1569085"/>
          <a:ext cx="5163956" cy="2025785"/>
        </a:xfrm>
        <a:prstGeom prst="flowChartManualOperati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6348" bIns="0" numCol="1" spcCol="1270" anchor="ctr" anchorCtr="0">
          <a:noAutofit/>
        </a:bodyPr>
        <a:lstStyle/>
        <a:p>
          <a:pPr marL="0" lvl="0" indent="0" algn="ctr" defTabSz="1022350">
            <a:lnSpc>
              <a:spcPct val="90000"/>
            </a:lnSpc>
            <a:spcBef>
              <a:spcPct val="0"/>
            </a:spcBef>
            <a:spcAft>
              <a:spcPct val="35000"/>
            </a:spcAft>
            <a:buNone/>
          </a:pPr>
          <a:r>
            <a:rPr lang="en-US" sz="2300" kern="1200" dirty="0"/>
            <a:t>Cost Reduction</a:t>
          </a:r>
        </a:p>
      </dsp:txBody>
      <dsp:txXfrm rot="5400000">
        <a:off x="5773" y="1032791"/>
        <a:ext cx="2025785" cy="3098374"/>
      </dsp:txXfrm>
    </dsp:sp>
    <dsp:sp modelId="{CD310C17-F166-4B61-AE49-08BC510F31EE}">
      <dsp:nvSpPr>
        <dsp:cNvPr id="0" name=""/>
        <dsp:cNvSpPr/>
      </dsp:nvSpPr>
      <dsp:spPr>
        <a:xfrm rot="16200000">
          <a:off x="614407" y="1569085"/>
          <a:ext cx="5163956" cy="2025785"/>
        </a:xfrm>
        <a:prstGeom prst="flowChartManualOperation">
          <a:avLst/>
        </a:prstGeom>
        <a:solidFill>
          <a:schemeClr val="accent2">
            <a:hueOff val="1267329"/>
            <a:satOff val="-3253"/>
            <a:lumOff val="-81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6348" bIns="0" numCol="1" spcCol="1270" anchor="ctr" anchorCtr="0">
          <a:noAutofit/>
        </a:bodyPr>
        <a:lstStyle/>
        <a:p>
          <a:pPr marL="0" lvl="0" indent="0" algn="ctr" defTabSz="1022350">
            <a:lnSpc>
              <a:spcPct val="90000"/>
            </a:lnSpc>
            <a:spcBef>
              <a:spcPct val="0"/>
            </a:spcBef>
            <a:spcAft>
              <a:spcPct val="35000"/>
            </a:spcAft>
            <a:buNone/>
          </a:pPr>
          <a:r>
            <a:rPr lang="en-US" sz="2300" kern="1200" dirty="0"/>
            <a:t>Speed</a:t>
          </a:r>
        </a:p>
      </dsp:txBody>
      <dsp:txXfrm rot="5400000">
        <a:off x="2183492" y="1032791"/>
        <a:ext cx="2025785" cy="3098374"/>
      </dsp:txXfrm>
    </dsp:sp>
    <dsp:sp modelId="{9E3FEE52-7AA9-4A94-84BC-B9A47244D900}">
      <dsp:nvSpPr>
        <dsp:cNvPr id="0" name=""/>
        <dsp:cNvSpPr/>
      </dsp:nvSpPr>
      <dsp:spPr>
        <a:xfrm rot="16200000">
          <a:off x="2792127" y="1569085"/>
          <a:ext cx="5163956" cy="2025785"/>
        </a:xfrm>
        <a:prstGeom prst="flowChartManualOperation">
          <a:avLst/>
        </a:prstGeom>
        <a:solidFill>
          <a:schemeClr val="accent2">
            <a:hueOff val="2534658"/>
            <a:satOff val="-6506"/>
            <a:lumOff val="-162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6348" bIns="0" numCol="1" spcCol="1270" anchor="ctr" anchorCtr="0">
          <a:noAutofit/>
        </a:bodyPr>
        <a:lstStyle/>
        <a:p>
          <a:pPr marL="0" lvl="0" indent="0" algn="ctr" defTabSz="1022350">
            <a:lnSpc>
              <a:spcPct val="90000"/>
            </a:lnSpc>
            <a:spcBef>
              <a:spcPct val="0"/>
            </a:spcBef>
            <a:spcAft>
              <a:spcPct val="35000"/>
            </a:spcAft>
            <a:buNone/>
          </a:pPr>
          <a:r>
            <a:rPr lang="en-US" sz="2300" kern="1200" dirty="0"/>
            <a:t>Scalability</a:t>
          </a:r>
        </a:p>
      </dsp:txBody>
      <dsp:txXfrm rot="5400000">
        <a:off x="4361212" y="1032791"/>
        <a:ext cx="2025785" cy="3098374"/>
      </dsp:txXfrm>
    </dsp:sp>
    <dsp:sp modelId="{0D6ED076-525C-4DF4-B190-BE091C956A56}">
      <dsp:nvSpPr>
        <dsp:cNvPr id="0" name=""/>
        <dsp:cNvSpPr/>
      </dsp:nvSpPr>
      <dsp:spPr>
        <a:xfrm rot="16200000">
          <a:off x="4969847" y="1569085"/>
          <a:ext cx="5163956" cy="2025785"/>
        </a:xfrm>
        <a:prstGeom prst="flowChartManualOperation">
          <a:avLst/>
        </a:prstGeom>
        <a:solidFill>
          <a:schemeClr val="accent2">
            <a:hueOff val="3801987"/>
            <a:satOff val="-9760"/>
            <a:lumOff val="-244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6348" bIns="0" numCol="1" spcCol="1270" anchor="ctr" anchorCtr="0">
          <a:noAutofit/>
        </a:bodyPr>
        <a:lstStyle/>
        <a:p>
          <a:pPr marL="0" lvl="0" indent="0" algn="ctr" defTabSz="1022350">
            <a:lnSpc>
              <a:spcPct val="90000"/>
            </a:lnSpc>
            <a:spcBef>
              <a:spcPct val="0"/>
            </a:spcBef>
            <a:spcAft>
              <a:spcPct val="35000"/>
            </a:spcAft>
            <a:buNone/>
          </a:pPr>
          <a:r>
            <a:rPr lang="en-US" sz="2300" kern="1200" dirty="0"/>
            <a:t>Productivity</a:t>
          </a:r>
        </a:p>
      </dsp:txBody>
      <dsp:txXfrm rot="5400000">
        <a:off x="6538932" y="1032791"/>
        <a:ext cx="2025785" cy="3098374"/>
      </dsp:txXfrm>
    </dsp:sp>
    <dsp:sp modelId="{9740E40D-A945-4C31-8431-AB3AF7388F1D}">
      <dsp:nvSpPr>
        <dsp:cNvPr id="0" name=""/>
        <dsp:cNvSpPr/>
      </dsp:nvSpPr>
      <dsp:spPr>
        <a:xfrm rot="16200000">
          <a:off x="7147567" y="1569085"/>
          <a:ext cx="5163956" cy="2025785"/>
        </a:xfrm>
        <a:prstGeom prst="flowChartManualOperation">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6348" bIns="0" numCol="1" spcCol="1270" anchor="ctr" anchorCtr="0">
          <a:noAutofit/>
        </a:bodyPr>
        <a:lstStyle/>
        <a:p>
          <a:pPr marL="0" lvl="0" indent="0" algn="ctr" defTabSz="1022350">
            <a:lnSpc>
              <a:spcPct val="90000"/>
            </a:lnSpc>
            <a:spcBef>
              <a:spcPct val="0"/>
            </a:spcBef>
            <a:spcAft>
              <a:spcPct val="35000"/>
            </a:spcAft>
            <a:buNone/>
          </a:pPr>
          <a:r>
            <a:rPr lang="en-US" sz="2300" kern="1200" dirty="0"/>
            <a:t>Reliability</a:t>
          </a:r>
        </a:p>
      </dsp:txBody>
      <dsp:txXfrm rot="5400000">
        <a:off x="8716652" y="1032791"/>
        <a:ext cx="2025785" cy="30983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AE61F1-15F0-4048-B742-03783D29452E}">
      <dsp:nvSpPr>
        <dsp:cNvPr id="0" name=""/>
        <dsp:cNvSpPr/>
      </dsp:nvSpPr>
      <dsp:spPr>
        <a:xfrm>
          <a:off x="2093079" y="0"/>
          <a:ext cx="5163956" cy="5163956"/>
        </a:xfrm>
        <a:prstGeom prst="triangl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FF2152-C5EE-466C-BEA0-3357B0A07E9E}">
      <dsp:nvSpPr>
        <dsp:cNvPr id="0" name=""/>
        <dsp:cNvSpPr/>
      </dsp:nvSpPr>
      <dsp:spPr>
        <a:xfrm>
          <a:off x="4675057" y="516899"/>
          <a:ext cx="3356571" cy="917812"/>
        </a:xfrm>
        <a:prstGeom prst="round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Faster deployment</a:t>
          </a:r>
        </a:p>
      </dsp:txBody>
      <dsp:txXfrm>
        <a:off x="4719861" y="561703"/>
        <a:ext cx="3266963" cy="828204"/>
      </dsp:txXfrm>
    </dsp:sp>
    <dsp:sp modelId="{B2BB4303-D35C-478F-947C-FAFC2D7FB6D4}">
      <dsp:nvSpPr>
        <dsp:cNvPr id="0" name=""/>
        <dsp:cNvSpPr/>
      </dsp:nvSpPr>
      <dsp:spPr>
        <a:xfrm>
          <a:off x="4675057" y="1549438"/>
          <a:ext cx="3356571" cy="917812"/>
        </a:xfrm>
        <a:prstGeom prst="roundRect">
          <a:avLst/>
        </a:prstGeom>
        <a:solidFill>
          <a:schemeClr val="lt1">
            <a:alpha val="90000"/>
            <a:hueOff val="0"/>
            <a:satOff val="0"/>
            <a:lumOff val="0"/>
            <a:alphaOff val="0"/>
          </a:schemeClr>
        </a:solidFill>
        <a:ln w="12700" cap="flat" cmpd="sng" algn="ctr">
          <a:solidFill>
            <a:schemeClr val="accent2">
              <a:hueOff val="1689772"/>
              <a:satOff val="-4338"/>
              <a:lumOff val="-108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Usage based pricing </a:t>
          </a:r>
        </a:p>
      </dsp:txBody>
      <dsp:txXfrm>
        <a:off x="4719861" y="1594242"/>
        <a:ext cx="3266963" cy="828204"/>
      </dsp:txXfrm>
    </dsp:sp>
    <dsp:sp modelId="{AF7842D3-0208-4210-9F95-674EECFC8749}">
      <dsp:nvSpPr>
        <dsp:cNvPr id="0" name=""/>
        <dsp:cNvSpPr/>
      </dsp:nvSpPr>
      <dsp:spPr>
        <a:xfrm>
          <a:off x="4675057" y="2581977"/>
          <a:ext cx="3356571" cy="917812"/>
        </a:xfrm>
        <a:prstGeom prst="roundRect">
          <a:avLst/>
        </a:prstGeom>
        <a:solidFill>
          <a:schemeClr val="lt1">
            <a:alpha val="90000"/>
            <a:hueOff val="0"/>
            <a:satOff val="0"/>
            <a:lumOff val="0"/>
            <a:alphaOff val="0"/>
          </a:schemeClr>
        </a:solidFill>
        <a:ln w="12700" cap="flat" cmpd="sng" algn="ctr">
          <a:solidFill>
            <a:schemeClr val="accent2">
              <a:hueOff val="3379544"/>
              <a:satOff val="-8675"/>
              <a:lumOff val="-2169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Less financial risk</a:t>
          </a:r>
        </a:p>
      </dsp:txBody>
      <dsp:txXfrm>
        <a:off x="4719861" y="2626781"/>
        <a:ext cx="3266963" cy="828204"/>
      </dsp:txXfrm>
    </dsp:sp>
    <dsp:sp modelId="{6E85C188-87F1-4F2A-9D81-891EC25703F8}">
      <dsp:nvSpPr>
        <dsp:cNvPr id="0" name=""/>
        <dsp:cNvSpPr/>
      </dsp:nvSpPr>
      <dsp:spPr>
        <a:xfrm>
          <a:off x="4675057" y="3614517"/>
          <a:ext cx="3356571" cy="917812"/>
        </a:xfrm>
        <a:prstGeom prst="roundRect">
          <a:avLst/>
        </a:prstGeom>
        <a:solidFill>
          <a:schemeClr val="lt1">
            <a:alpha val="90000"/>
            <a:hueOff val="0"/>
            <a:satOff val="0"/>
            <a:lumOff val="0"/>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Easier upgrade</a:t>
          </a:r>
          <a:endParaRPr lang="en-US" sz="2400" kern="1200" dirty="0"/>
        </a:p>
      </dsp:txBody>
      <dsp:txXfrm>
        <a:off x="4719861" y="3659321"/>
        <a:ext cx="3266963" cy="8282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68F560-4B97-487B-84DB-96A8ADD769B2}">
      <dsp:nvSpPr>
        <dsp:cNvPr id="0" name=""/>
        <dsp:cNvSpPr/>
      </dsp:nvSpPr>
      <dsp:spPr>
        <a:xfrm>
          <a:off x="839935" y="2109"/>
          <a:ext cx="8444837" cy="76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b" anchorCtr="0">
          <a:noAutofit/>
        </a:bodyPr>
        <a:lstStyle/>
        <a:p>
          <a:pPr marL="0" lvl="0" indent="0" algn="l" defTabSz="1155700">
            <a:lnSpc>
              <a:spcPct val="90000"/>
            </a:lnSpc>
            <a:spcBef>
              <a:spcPct val="0"/>
            </a:spcBef>
            <a:spcAft>
              <a:spcPct val="35000"/>
            </a:spcAft>
            <a:buNone/>
          </a:pPr>
          <a:r>
            <a:rPr lang="en-US" sz="2600" kern="1200" dirty="0"/>
            <a:t>Requires trusted SaaS Provider </a:t>
          </a:r>
        </a:p>
      </dsp:txBody>
      <dsp:txXfrm>
        <a:off x="839935" y="2109"/>
        <a:ext cx="8444837" cy="767712"/>
      </dsp:txXfrm>
    </dsp:sp>
    <dsp:sp modelId="{9A1CD9D9-750B-4F4F-9B04-CD9EAF98A833}">
      <dsp:nvSpPr>
        <dsp:cNvPr id="0" name=""/>
        <dsp:cNvSpPr/>
      </dsp:nvSpPr>
      <dsp:spPr>
        <a:xfrm>
          <a:off x="839935" y="769822"/>
          <a:ext cx="1125978" cy="187663"/>
        </a:xfrm>
        <a:prstGeom prst="parallelogram">
          <a:avLst>
            <a:gd name="adj" fmla="val 14084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08E809-F190-4574-8566-E644C1A8F160}">
      <dsp:nvSpPr>
        <dsp:cNvPr id="0" name=""/>
        <dsp:cNvSpPr/>
      </dsp:nvSpPr>
      <dsp:spPr>
        <a:xfrm>
          <a:off x="2031595" y="769822"/>
          <a:ext cx="1125978" cy="187663"/>
        </a:xfrm>
        <a:prstGeom prst="parallelogram">
          <a:avLst>
            <a:gd name="adj" fmla="val 140840"/>
          </a:avLst>
        </a:prstGeom>
        <a:solidFill>
          <a:schemeClr val="accent2">
            <a:hueOff val="149098"/>
            <a:satOff val="-383"/>
            <a:lumOff val="-957"/>
            <a:alphaOff val="0"/>
          </a:schemeClr>
        </a:solidFill>
        <a:ln w="12700" cap="flat" cmpd="sng" algn="ctr">
          <a:solidFill>
            <a:schemeClr val="accent2">
              <a:hueOff val="149098"/>
              <a:satOff val="-383"/>
              <a:lumOff val="-95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50135F-336F-42EC-95EB-0229BA4B822C}">
      <dsp:nvSpPr>
        <dsp:cNvPr id="0" name=""/>
        <dsp:cNvSpPr/>
      </dsp:nvSpPr>
      <dsp:spPr>
        <a:xfrm>
          <a:off x="3223256" y="769822"/>
          <a:ext cx="1125978" cy="187663"/>
        </a:xfrm>
        <a:prstGeom prst="parallelogram">
          <a:avLst>
            <a:gd name="adj" fmla="val 140840"/>
          </a:avLst>
        </a:prstGeom>
        <a:solidFill>
          <a:schemeClr val="accent2">
            <a:hueOff val="298195"/>
            <a:satOff val="-765"/>
            <a:lumOff val="-1914"/>
            <a:alphaOff val="0"/>
          </a:schemeClr>
        </a:solidFill>
        <a:ln w="12700" cap="flat" cmpd="sng" algn="ctr">
          <a:solidFill>
            <a:schemeClr val="accent2">
              <a:hueOff val="298195"/>
              <a:satOff val="-765"/>
              <a:lumOff val="-19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6D3DA6-41C7-4E3F-9668-B8035C9E7479}">
      <dsp:nvSpPr>
        <dsp:cNvPr id="0" name=""/>
        <dsp:cNvSpPr/>
      </dsp:nvSpPr>
      <dsp:spPr>
        <a:xfrm>
          <a:off x="4414916" y="769822"/>
          <a:ext cx="1125978" cy="187663"/>
        </a:xfrm>
        <a:prstGeom prst="parallelogram">
          <a:avLst>
            <a:gd name="adj" fmla="val 140840"/>
          </a:avLst>
        </a:prstGeom>
        <a:solidFill>
          <a:schemeClr val="accent2">
            <a:hueOff val="447293"/>
            <a:satOff val="-1148"/>
            <a:lumOff val="-2872"/>
            <a:alphaOff val="0"/>
          </a:schemeClr>
        </a:solidFill>
        <a:ln w="12700" cap="flat" cmpd="sng" algn="ctr">
          <a:solidFill>
            <a:schemeClr val="accent2">
              <a:hueOff val="447293"/>
              <a:satOff val="-1148"/>
              <a:lumOff val="-287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A4DC12-7B25-4686-A334-054B9AA8D154}">
      <dsp:nvSpPr>
        <dsp:cNvPr id="0" name=""/>
        <dsp:cNvSpPr/>
      </dsp:nvSpPr>
      <dsp:spPr>
        <a:xfrm>
          <a:off x="5606576" y="769822"/>
          <a:ext cx="1125978" cy="187663"/>
        </a:xfrm>
        <a:prstGeom prst="parallelogram">
          <a:avLst>
            <a:gd name="adj" fmla="val 140840"/>
          </a:avLst>
        </a:prstGeom>
        <a:solidFill>
          <a:schemeClr val="accent2">
            <a:hueOff val="596390"/>
            <a:satOff val="-1531"/>
            <a:lumOff val="-3829"/>
            <a:alphaOff val="0"/>
          </a:schemeClr>
        </a:solidFill>
        <a:ln w="12700" cap="flat" cmpd="sng" algn="ctr">
          <a:solidFill>
            <a:schemeClr val="accent2">
              <a:hueOff val="596390"/>
              <a:satOff val="-1531"/>
              <a:lumOff val="-38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455300-7285-429D-A54A-673C05B710CC}">
      <dsp:nvSpPr>
        <dsp:cNvPr id="0" name=""/>
        <dsp:cNvSpPr/>
      </dsp:nvSpPr>
      <dsp:spPr>
        <a:xfrm>
          <a:off x="6798237" y="769822"/>
          <a:ext cx="1125978" cy="187663"/>
        </a:xfrm>
        <a:prstGeom prst="parallelogram">
          <a:avLst>
            <a:gd name="adj" fmla="val 140840"/>
          </a:avLst>
        </a:prstGeom>
        <a:solidFill>
          <a:schemeClr val="accent2">
            <a:hueOff val="745488"/>
            <a:satOff val="-1914"/>
            <a:lumOff val="-4786"/>
            <a:alphaOff val="0"/>
          </a:schemeClr>
        </a:solidFill>
        <a:ln w="12700" cap="flat" cmpd="sng" algn="ctr">
          <a:solidFill>
            <a:schemeClr val="accent2">
              <a:hueOff val="745488"/>
              <a:satOff val="-1914"/>
              <a:lumOff val="-478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9F137B-52FA-4702-AC12-BA375C60538C}">
      <dsp:nvSpPr>
        <dsp:cNvPr id="0" name=""/>
        <dsp:cNvSpPr/>
      </dsp:nvSpPr>
      <dsp:spPr>
        <a:xfrm>
          <a:off x="7989897" y="769822"/>
          <a:ext cx="1125978" cy="187663"/>
        </a:xfrm>
        <a:prstGeom prst="parallelogram">
          <a:avLst>
            <a:gd name="adj" fmla="val 140840"/>
          </a:avLst>
        </a:prstGeom>
        <a:solidFill>
          <a:schemeClr val="accent2">
            <a:hueOff val="894585"/>
            <a:satOff val="-2296"/>
            <a:lumOff val="-5743"/>
            <a:alphaOff val="0"/>
          </a:schemeClr>
        </a:solidFill>
        <a:ln w="12700" cap="flat" cmpd="sng" algn="ctr">
          <a:solidFill>
            <a:schemeClr val="accent2">
              <a:hueOff val="894585"/>
              <a:satOff val="-2296"/>
              <a:lumOff val="-574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B437BC-8901-48FC-9076-105F2B43510E}">
      <dsp:nvSpPr>
        <dsp:cNvPr id="0" name=""/>
        <dsp:cNvSpPr/>
      </dsp:nvSpPr>
      <dsp:spPr>
        <a:xfrm>
          <a:off x="839935" y="1053200"/>
          <a:ext cx="8444837" cy="76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b" anchorCtr="0">
          <a:noAutofit/>
        </a:bodyPr>
        <a:lstStyle/>
        <a:p>
          <a:pPr marL="0" lvl="0" indent="0" algn="l" defTabSz="1155700">
            <a:lnSpc>
              <a:spcPct val="90000"/>
            </a:lnSpc>
            <a:spcBef>
              <a:spcPct val="0"/>
            </a:spcBef>
            <a:spcAft>
              <a:spcPct val="35000"/>
            </a:spcAft>
            <a:buNone/>
          </a:pPr>
          <a:r>
            <a:rPr lang="en-US" sz="2600" kern="1200" dirty="0"/>
            <a:t>Legal concerns</a:t>
          </a:r>
        </a:p>
      </dsp:txBody>
      <dsp:txXfrm>
        <a:off x="839935" y="1053200"/>
        <a:ext cx="8444837" cy="767712"/>
      </dsp:txXfrm>
    </dsp:sp>
    <dsp:sp modelId="{90FC1EC3-DEE6-4556-B4C8-B049B599FB42}">
      <dsp:nvSpPr>
        <dsp:cNvPr id="0" name=""/>
        <dsp:cNvSpPr/>
      </dsp:nvSpPr>
      <dsp:spPr>
        <a:xfrm>
          <a:off x="839935" y="1820912"/>
          <a:ext cx="1125978" cy="187663"/>
        </a:xfrm>
        <a:prstGeom prst="parallelogram">
          <a:avLst>
            <a:gd name="adj" fmla="val 140840"/>
          </a:avLst>
        </a:prstGeom>
        <a:solidFill>
          <a:schemeClr val="accent2">
            <a:hueOff val="1043683"/>
            <a:satOff val="-2679"/>
            <a:lumOff val="-6701"/>
            <a:alphaOff val="0"/>
          </a:schemeClr>
        </a:solidFill>
        <a:ln w="12700" cap="flat" cmpd="sng" algn="ctr">
          <a:solidFill>
            <a:schemeClr val="accent2">
              <a:hueOff val="1043683"/>
              <a:satOff val="-2679"/>
              <a:lumOff val="-670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16AFA5-7CB1-4DB6-8F76-ADD862C3F086}">
      <dsp:nvSpPr>
        <dsp:cNvPr id="0" name=""/>
        <dsp:cNvSpPr/>
      </dsp:nvSpPr>
      <dsp:spPr>
        <a:xfrm>
          <a:off x="2031595" y="1820912"/>
          <a:ext cx="1125978" cy="187663"/>
        </a:xfrm>
        <a:prstGeom prst="parallelogram">
          <a:avLst>
            <a:gd name="adj" fmla="val 140840"/>
          </a:avLst>
        </a:prstGeom>
        <a:solidFill>
          <a:schemeClr val="accent2">
            <a:hueOff val="1192780"/>
            <a:satOff val="-3062"/>
            <a:lumOff val="-7658"/>
            <a:alphaOff val="0"/>
          </a:schemeClr>
        </a:solidFill>
        <a:ln w="12700" cap="flat" cmpd="sng" algn="ctr">
          <a:solidFill>
            <a:schemeClr val="accent2">
              <a:hueOff val="1192780"/>
              <a:satOff val="-3062"/>
              <a:lumOff val="-765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F25226-7237-4D8E-92BF-8D68ABC6FFB8}">
      <dsp:nvSpPr>
        <dsp:cNvPr id="0" name=""/>
        <dsp:cNvSpPr/>
      </dsp:nvSpPr>
      <dsp:spPr>
        <a:xfrm>
          <a:off x="3223256" y="1820912"/>
          <a:ext cx="1125978" cy="187663"/>
        </a:xfrm>
        <a:prstGeom prst="parallelogram">
          <a:avLst>
            <a:gd name="adj" fmla="val 140840"/>
          </a:avLst>
        </a:prstGeom>
        <a:solidFill>
          <a:schemeClr val="accent2">
            <a:hueOff val="1341878"/>
            <a:satOff val="-3445"/>
            <a:lumOff val="-8615"/>
            <a:alphaOff val="0"/>
          </a:schemeClr>
        </a:solidFill>
        <a:ln w="12700" cap="flat" cmpd="sng" algn="ctr">
          <a:solidFill>
            <a:schemeClr val="accent2">
              <a:hueOff val="1341878"/>
              <a:satOff val="-3445"/>
              <a:lumOff val="-861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547312-D9F8-4350-86A1-1C040B38C29C}">
      <dsp:nvSpPr>
        <dsp:cNvPr id="0" name=""/>
        <dsp:cNvSpPr/>
      </dsp:nvSpPr>
      <dsp:spPr>
        <a:xfrm>
          <a:off x="4414916" y="1820912"/>
          <a:ext cx="1125978" cy="187663"/>
        </a:xfrm>
        <a:prstGeom prst="parallelogram">
          <a:avLst>
            <a:gd name="adj" fmla="val 140840"/>
          </a:avLst>
        </a:prstGeom>
        <a:solidFill>
          <a:schemeClr val="accent2">
            <a:hueOff val="1490975"/>
            <a:satOff val="-3827"/>
            <a:lumOff val="-9572"/>
            <a:alphaOff val="0"/>
          </a:schemeClr>
        </a:solidFill>
        <a:ln w="12700" cap="flat" cmpd="sng" algn="ctr">
          <a:solidFill>
            <a:schemeClr val="accent2">
              <a:hueOff val="1490975"/>
              <a:satOff val="-3827"/>
              <a:lumOff val="-957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9D93B-368C-47DA-ABF0-E96E4D35BCB1}">
      <dsp:nvSpPr>
        <dsp:cNvPr id="0" name=""/>
        <dsp:cNvSpPr/>
      </dsp:nvSpPr>
      <dsp:spPr>
        <a:xfrm>
          <a:off x="5606576" y="1820912"/>
          <a:ext cx="1125978" cy="187663"/>
        </a:xfrm>
        <a:prstGeom prst="parallelogram">
          <a:avLst>
            <a:gd name="adj" fmla="val 140840"/>
          </a:avLst>
        </a:prstGeom>
        <a:solidFill>
          <a:schemeClr val="accent2">
            <a:hueOff val="1640073"/>
            <a:satOff val="-4210"/>
            <a:lumOff val="-10530"/>
            <a:alphaOff val="0"/>
          </a:schemeClr>
        </a:solidFill>
        <a:ln w="12700" cap="flat" cmpd="sng" algn="ctr">
          <a:solidFill>
            <a:schemeClr val="accent2">
              <a:hueOff val="1640073"/>
              <a:satOff val="-4210"/>
              <a:lumOff val="-105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D96B1-434D-4797-9310-486419B3E7A0}">
      <dsp:nvSpPr>
        <dsp:cNvPr id="0" name=""/>
        <dsp:cNvSpPr/>
      </dsp:nvSpPr>
      <dsp:spPr>
        <a:xfrm>
          <a:off x="6798237" y="1820912"/>
          <a:ext cx="1125978" cy="187663"/>
        </a:xfrm>
        <a:prstGeom prst="parallelogram">
          <a:avLst>
            <a:gd name="adj" fmla="val 140840"/>
          </a:avLst>
        </a:prstGeom>
        <a:solidFill>
          <a:schemeClr val="accent2">
            <a:hueOff val="1789170"/>
            <a:satOff val="-4593"/>
            <a:lumOff val="-11487"/>
            <a:alphaOff val="0"/>
          </a:schemeClr>
        </a:solidFill>
        <a:ln w="12700" cap="flat" cmpd="sng" algn="ctr">
          <a:solidFill>
            <a:schemeClr val="accent2">
              <a:hueOff val="1789170"/>
              <a:satOff val="-4593"/>
              <a:lumOff val="-1148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A3BC49-B45C-4005-879C-11604E3F08BF}">
      <dsp:nvSpPr>
        <dsp:cNvPr id="0" name=""/>
        <dsp:cNvSpPr/>
      </dsp:nvSpPr>
      <dsp:spPr>
        <a:xfrm>
          <a:off x="7989897" y="1820912"/>
          <a:ext cx="1125978" cy="187663"/>
        </a:xfrm>
        <a:prstGeom prst="parallelogram">
          <a:avLst>
            <a:gd name="adj" fmla="val 140840"/>
          </a:avLst>
        </a:prstGeom>
        <a:solidFill>
          <a:schemeClr val="accent2">
            <a:hueOff val="1938268"/>
            <a:satOff val="-4976"/>
            <a:lumOff val="-12444"/>
            <a:alphaOff val="0"/>
          </a:schemeClr>
        </a:solidFill>
        <a:ln w="12700" cap="flat" cmpd="sng" algn="ctr">
          <a:solidFill>
            <a:schemeClr val="accent2">
              <a:hueOff val="1938268"/>
              <a:satOff val="-4976"/>
              <a:lumOff val="-1244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A8C97A-4062-4C56-BF39-658B22A4C2B3}">
      <dsp:nvSpPr>
        <dsp:cNvPr id="0" name=""/>
        <dsp:cNvSpPr/>
      </dsp:nvSpPr>
      <dsp:spPr>
        <a:xfrm>
          <a:off x="839935" y="2104290"/>
          <a:ext cx="8444837" cy="76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b" anchorCtr="0">
          <a:noAutofit/>
        </a:bodyPr>
        <a:lstStyle/>
        <a:p>
          <a:pPr marL="0" lvl="0" indent="0" algn="l" defTabSz="1155700">
            <a:lnSpc>
              <a:spcPct val="90000"/>
            </a:lnSpc>
            <a:spcBef>
              <a:spcPct val="0"/>
            </a:spcBef>
            <a:spcAft>
              <a:spcPct val="35000"/>
            </a:spcAft>
            <a:buNone/>
          </a:pPr>
          <a:r>
            <a:rPr lang="en-US" sz="2600" kern="1200" dirty="0"/>
            <a:t>Limited App customization</a:t>
          </a:r>
        </a:p>
      </dsp:txBody>
      <dsp:txXfrm>
        <a:off x="839935" y="2104290"/>
        <a:ext cx="8444837" cy="767712"/>
      </dsp:txXfrm>
    </dsp:sp>
    <dsp:sp modelId="{4AF8C838-FAB6-4065-8B3D-4A3C67CDDE37}">
      <dsp:nvSpPr>
        <dsp:cNvPr id="0" name=""/>
        <dsp:cNvSpPr/>
      </dsp:nvSpPr>
      <dsp:spPr>
        <a:xfrm>
          <a:off x="839935" y="2872002"/>
          <a:ext cx="1125978" cy="187663"/>
        </a:xfrm>
        <a:prstGeom prst="parallelogram">
          <a:avLst>
            <a:gd name="adj" fmla="val 140840"/>
          </a:avLst>
        </a:prstGeom>
        <a:solidFill>
          <a:schemeClr val="accent2">
            <a:hueOff val="2087365"/>
            <a:satOff val="-5358"/>
            <a:lumOff val="-13401"/>
            <a:alphaOff val="0"/>
          </a:schemeClr>
        </a:solidFill>
        <a:ln w="12700" cap="flat" cmpd="sng" algn="ctr">
          <a:solidFill>
            <a:schemeClr val="accent2">
              <a:hueOff val="2087365"/>
              <a:satOff val="-5358"/>
              <a:lumOff val="-1340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ECA08C-8262-4479-A631-1B237251643F}">
      <dsp:nvSpPr>
        <dsp:cNvPr id="0" name=""/>
        <dsp:cNvSpPr/>
      </dsp:nvSpPr>
      <dsp:spPr>
        <a:xfrm>
          <a:off x="2031595" y="2872002"/>
          <a:ext cx="1125978" cy="187663"/>
        </a:xfrm>
        <a:prstGeom prst="parallelogram">
          <a:avLst>
            <a:gd name="adj" fmla="val 140840"/>
          </a:avLst>
        </a:prstGeom>
        <a:solidFill>
          <a:schemeClr val="accent2">
            <a:hueOff val="2236463"/>
            <a:satOff val="-5741"/>
            <a:lumOff val="-14359"/>
            <a:alphaOff val="0"/>
          </a:schemeClr>
        </a:solidFill>
        <a:ln w="12700" cap="flat" cmpd="sng" algn="ctr">
          <a:solidFill>
            <a:schemeClr val="accent2">
              <a:hueOff val="2236463"/>
              <a:satOff val="-5741"/>
              <a:lumOff val="-143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7A0A96-EF8A-44B3-9A44-E6E11FC8A596}">
      <dsp:nvSpPr>
        <dsp:cNvPr id="0" name=""/>
        <dsp:cNvSpPr/>
      </dsp:nvSpPr>
      <dsp:spPr>
        <a:xfrm>
          <a:off x="3223256" y="2872002"/>
          <a:ext cx="1125978" cy="187663"/>
        </a:xfrm>
        <a:prstGeom prst="parallelogram">
          <a:avLst>
            <a:gd name="adj" fmla="val 140840"/>
          </a:avLst>
        </a:prstGeom>
        <a:solidFill>
          <a:schemeClr val="accent2">
            <a:hueOff val="2385561"/>
            <a:satOff val="-6124"/>
            <a:lumOff val="-15316"/>
            <a:alphaOff val="0"/>
          </a:schemeClr>
        </a:solidFill>
        <a:ln w="12700" cap="flat" cmpd="sng" algn="ctr">
          <a:solidFill>
            <a:schemeClr val="accent2">
              <a:hueOff val="2385561"/>
              <a:satOff val="-6124"/>
              <a:lumOff val="-1531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FF47CF-6E7A-4189-AFFA-DCCDDFEA25CE}">
      <dsp:nvSpPr>
        <dsp:cNvPr id="0" name=""/>
        <dsp:cNvSpPr/>
      </dsp:nvSpPr>
      <dsp:spPr>
        <a:xfrm>
          <a:off x="4414916" y="2872002"/>
          <a:ext cx="1125978" cy="187663"/>
        </a:xfrm>
        <a:prstGeom prst="parallelogram">
          <a:avLst>
            <a:gd name="adj" fmla="val 140840"/>
          </a:avLst>
        </a:prstGeom>
        <a:solidFill>
          <a:schemeClr val="accent2">
            <a:hueOff val="2534658"/>
            <a:satOff val="-6506"/>
            <a:lumOff val="-16273"/>
            <a:alphaOff val="0"/>
          </a:schemeClr>
        </a:solidFill>
        <a:ln w="12700" cap="flat" cmpd="sng" algn="ctr">
          <a:solidFill>
            <a:schemeClr val="accent2">
              <a:hueOff val="2534658"/>
              <a:satOff val="-6506"/>
              <a:lumOff val="-1627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D5D7C0-8377-4DC8-967F-E22A0B1C2C65}">
      <dsp:nvSpPr>
        <dsp:cNvPr id="0" name=""/>
        <dsp:cNvSpPr/>
      </dsp:nvSpPr>
      <dsp:spPr>
        <a:xfrm>
          <a:off x="5606576" y="2872002"/>
          <a:ext cx="1125978" cy="187663"/>
        </a:xfrm>
        <a:prstGeom prst="parallelogram">
          <a:avLst>
            <a:gd name="adj" fmla="val 140840"/>
          </a:avLst>
        </a:prstGeom>
        <a:solidFill>
          <a:schemeClr val="accent2">
            <a:hueOff val="2683756"/>
            <a:satOff val="-6889"/>
            <a:lumOff val="-17230"/>
            <a:alphaOff val="0"/>
          </a:schemeClr>
        </a:solidFill>
        <a:ln w="12700" cap="flat" cmpd="sng" algn="ctr">
          <a:solidFill>
            <a:schemeClr val="accent2">
              <a:hueOff val="2683756"/>
              <a:satOff val="-6889"/>
              <a:lumOff val="-172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640E5A-FCF4-4AE6-B161-147867B8F774}">
      <dsp:nvSpPr>
        <dsp:cNvPr id="0" name=""/>
        <dsp:cNvSpPr/>
      </dsp:nvSpPr>
      <dsp:spPr>
        <a:xfrm>
          <a:off x="6798237" y="2872002"/>
          <a:ext cx="1125978" cy="187663"/>
        </a:xfrm>
        <a:prstGeom prst="parallelogram">
          <a:avLst>
            <a:gd name="adj" fmla="val 140840"/>
          </a:avLst>
        </a:prstGeom>
        <a:solidFill>
          <a:schemeClr val="accent2">
            <a:hueOff val="2832853"/>
            <a:satOff val="-7272"/>
            <a:lumOff val="-18187"/>
            <a:alphaOff val="0"/>
          </a:schemeClr>
        </a:solidFill>
        <a:ln w="12700" cap="flat" cmpd="sng" algn="ctr">
          <a:solidFill>
            <a:schemeClr val="accent2">
              <a:hueOff val="2832853"/>
              <a:satOff val="-7272"/>
              <a:lumOff val="-1818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B718D9-CE0E-4EB5-8BD8-67BF5D454FEA}">
      <dsp:nvSpPr>
        <dsp:cNvPr id="0" name=""/>
        <dsp:cNvSpPr/>
      </dsp:nvSpPr>
      <dsp:spPr>
        <a:xfrm>
          <a:off x="7989897" y="2872002"/>
          <a:ext cx="1125978" cy="187663"/>
        </a:xfrm>
        <a:prstGeom prst="parallelogram">
          <a:avLst>
            <a:gd name="adj" fmla="val 140840"/>
          </a:avLst>
        </a:prstGeom>
        <a:solidFill>
          <a:schemeClr val="accent2">
            <a:hueOff val="2981951"/>
            <a:satOff val="-7655"/>
            <a:lumOff val="-19145"/>
            <a:alphaOff val="0"/>
          </a:schemeClr>
        </a:solidFill>
        <a:ln w="12700" cap="flat" cmpd="sng" algn="ctr">
          <a:solidFill>
            <a:schemeClr val="accent2">
              <a:hueOff val="2981951"/>
              <a:satOff val="-7655"/>
              <a:lumOff val="-1914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34D3AD-C341-4BC8-997C-3A86C9DE9290}">
      <dsp:nvSpPr>
        <dsp:cNvPr id="0" name=""/>
        <dsp:cNvSpPr/>
      </dsp:nvSpPr>
      <dsp:spPr>
        <a:xfrm>
          <a:off x="839935" y="3155380"/>
          <a:ext cx="8444837" cy="76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b" anchorCtr="0">
          <a:noAutofit/>
        </a:bodyPr>
        <a:lstStyle/>
        <a:p>
          <a:pPr marL="0" lvl="0" indent="0" algn="l" defTabSz="1155700">
            <a:lnSpc>
              <a:spcPct val="90000"/>
            </a:lnSpc>
            <a:spcBef>
              <a:spcPct val="0"/>
            </a:spcBef>
            <a:spcAft>
              <a:spcPct val="35000"/>
            </a:spcAft>
            <a:buNone/>
          </a:pPr>
          <a:r>
            <a:rPr lang="en-US" sz="2600" kern="1200" dirty="0"/>
            <a:t>Integration issues with on-premises applications</a:t>
          </a:r>
        </a:p>
      </dsp:txBody>
      <dsp:txXfrm>
        <a:off x="839935" y="3155380"/>
        <a:ext cx="8444837" cy="767712"/>
      </dsp:txXfrm>
    </dsp:sp>
    <dsp:sp modelId="{36DF80DF-4DF7-42D2-818F-D0F82AAB713C}">
      <dsp:nvSpPr>
        <dsp:cNvPr id="0" name=""/>
        <dsp:cNvSpPr/>
      </dsp:nvSpPr>
      <dsp:spPr>
        <a:xfrm>
          <a:off x="839935" y="3923092"/>
          <a:ext cx="1125978" cy="187663"/>
        </a:xfrm>
        <a:prstGeom prst="parallelogram">
          <a:avLst>
            <a:gd name="adj" fmla="val 140840"/>
          </a:avLst>
        </a:prstGeom>
        <a:solidFill>
          <a:schemeClr val="accent2">
            <a:hueOff val="3131048"/>
            <a:satOff val="-8037"/>
            <a:lumOff val="-20102"/>
            <a:alphaOff val="0"/>
          </a:schemeClr>
        </a:solidFill>
        <a:ln w="12700" cap="flat" cmpd="sng" algn="ctr">
          <a:solidFill>
            <a:schemeClr val="accent2">
              <a:hueOff val="3131048"/>
              <a:satOff val="-8037"/>
              <a:lumOff val="-2010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8B75F3-6E3C-4369-A615-B04701FB3F99}">
      <dsp:nvSpPr>
        <dsp:cNvPr id="0" name=""/>
        <dsp:cNvSpPr/>
      </dsp:nvSpPr>
      <dsp:spPr>
        <a:xfrm>
          <a:off x="2031595" y="3923092"/>
          <a:ext cx="1125978" cy="187663"/>
        </a:xfrm>
        <a:prstGeom prst="parallelogram">
          <a:avLst>
            <a:gd name="adj" fmla="val 140840"/>
          </a:avLst>
        </a:prstGeom>
        <a:solidFill>
          <a:schemeClr val="accent2">
            <a:hueOff val="3280146"/>
            <a:satOff val="-8420"/>
            <a:lumOff val="-21059"/>
            <a:alphaOff val="0"/>
          </a:schemeClr>
        </a:solidFill>
        <a:ln w="12700" cap="flat" cmpd="sng" algn="ctr">
          <a:solidFill>
            <a:schemeClr val="accent2">
              <a:hueOff val="3280146"/>
              <a:satOff val="-8420"/>
              <a:lumOff val="-21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878F1E-7920-4CF2-A3CE-277488855F7C}">
      <dsp:nvSpPr>
        <dsp:cNvPr id="0" name=""/>
        <dsp:cNvSpPr/>
      </dsp:nvSpPr>
      <dsp:spPr>
        <a:xfrm>
          <a:off x="3223256" y="3923092"/>
          <a:ext cx="1125978" cy="187663"/>
        </a:xfrm>
        <a:prstGeom prst="parallelogram">
          <a:avLst>
            <a:gd name="adj" fmla="val 140840"/>
          </a:avLst>
        </a:prstGeom>
        <a:solidFill>
          <a:schemeClr val="accent2">
            <a:hueOff val="3429243"/>
            <a:satOff val="-8803"/>
            <a:lumOff val="-22016"/>
            <a:alphaOff val="0"/>
          </a:schemeClr>
        </a:solidFill>
        <a:ln w="12700" cap="flat" cmpd="sng" algn="ctr">
          <a:solidFill>
            <a:schemeClr val="accent2">
              <a:hueOff val="3429243"/>
              <a:satOff val="-8803"/>
              <a:lumOff val="-2201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BC8576-A61A-42D8-93EA-E433C6D89F33}">
      <dsp:nvSpPr>
        <dsp:cNvPr id="0" name=""/>
        <dsp:cNvSpPr/>
      </dsp:nvSpPr>
      <dsp:spPr>
        <a:xfrm>
          <a:off x="4414916" y="3923092"/>
          <a:ext cx="1125978" cy="187663"/>
        </a:xfrm>
        <a:prstGeom prst="parallelogram">
          <a:avLst>
            <a:gd name="adj" fmla="val 140840"/>
          </a:avLst>
        </a:prstGeom>
        <a:solidFill>
          <a:schemeClr val="accent2">
            <a:hueOff val="3578341"/>
            <a:satOff val="-9186"/>
            <a:lumOff val="-22974"/>
            <a:alphaOff val="0"/>
          </a:schemeClr>
        </a:solidFill>
        <a:ln w="12700" cap="flat" cmpd="sng" algn="ctr">
          <a:solidFill>
            <a:schemeClr val="accent2">
              <a:hueOff val="3578341"/>
              <a:satOff val="-9186"/>
              <a:lumOff val="-229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A75084-A7ED-45F2-AF07-8D48E96785CB}">
      <dsp:nvSpPr>
        <dsp:cNvPr id="0" name=""/>
        <dsp:cNvSpPr/>
      </dsp:nvSpPr>
      <dsp:spPr>
        <a:xfrm>
          <a:off x="5606576" y="3923092"/>
          <a:ext cx="1125978" cy="187663"/>
        </a:xfrm>
        <a:prstGeom prst="parallelogram">
          <a:avLst>
            <a:gd name="adj" fmla="val 140840"/>
          </a:avLst>
        </a:prstGeom>
        <a:solidFill>
          <a:schemeClr val="accent2">
            <a:hueOff val="3727438"/>
            <a:satOff val="-9568"/>
            <a:lumOff val="-23931"/>
            <a:alphaOff val="0"/>
          </a:schemeClr>
        </a:solidFill>
        <a:ln w="12700" cap="flat" cmpd="sng" algn="ctr">
          <a:solidFill>
            <a:schemeClr val="accent2">
              <a:hueOff val="3727438"/>
              <a:satOff val="-9568"/>
              <a:lumOff val="-2393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395A6B-36FB-416B-BC49-327384F82703}">
      <dsp:nvSpPr>
        <dsp:cNvPr id="0" name=""/>
        <dsp:cNvSpPr/>
      </dsp:nvSpPr>
      <dsp:spPr>
        <a:xfrm>
          <a:off x="6798237" y="3923092"/>
          <a:ext cx="1125978" cy="187663"/>
        </a:xfrm>
        <a:prstGeom prst="parallelogram">
          <a:avLst>
            <a:gd name="adj" fmla="val 140840"/>
          </a:avLst>
        </a:prstGeom>
        <a:solidFill>
          <a:schemeClr val="accent2">
            <a:hueOff val="3876536"/>
            <a:satOff val="-9951"/>
            <a:lumOff val="-24888"/>
            <a:alphaOff val="0"/>
          </a:schemeClr>
        </a:solidFill>
        <a:ln w="12700" cap="flat" cmpd="sng" algn="ctr">
          <a:solidFill>
            <a:schemeClr val="accent2">
              <a:hueOff val="3876536"/>
              <a:satOff val="-9951"/>
              <a:lumOff val="-248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17B671-3C62-4F21-A2FF-DBA1EB3F4061}">
      <dsp:nvSpPr>
        <dsp:cNvPr id="0" name=""/>
        <dsp:cNvSpPr/>
      </dsp:nvSpPr>
      <dsp:spPr>
        <a:xfrm>
          <a:off x="7989897" y="3923092"/>
          <a:ext cx="1125978" cy="187663"/>
        </a:xfrm>
        <a:prstGeom prst="parallelogram">
          <a:avLst>
            <a:gd name="adj" fmla="val 140840"/>
          </a:avLst>
        </a:prstGeom>
        <a:solidFill>
          <a:schemeClr val="accent2">
            <a:hueOff val="4025633"/>
            <a:satOff val="-10334"/>
            <a:lumOff val="-25845"/>
            <a:alphaOff val="0"/>
          </a:schemeClr>
        </a:solidFill>
        <a:ln w="12700" cap="flat" cmpd="sng" algn="ctr">
          <a:solidFill>
            <a:schemeClr val="accent2">
              <a:hueOff val="4025633"/>
              <a:satOff val="-10334"/>
              <a:lumOff val="-2584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0BBF67-335F-4583-88EB-18B40DFE7786}">
      <dsp:nvSpPr>
        <dsp:cNvPr id="0" name=""/>
        <dsp:cNvSpPr/>
      </dsp:nvSpPr>
      <dsp:spPr>
        <a:xfrm>
          <a:off x="839935" y="4206470"/>
          <a:ext cx="8444837" cy="76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b" anchorCtr="0">
          <a:noAutofit/>
        </a:bodyPr>
        <a:lstStyle/>
        <a:p>
          <a:pPr marL="0" lvl="0" indent="0" algn="l" defTabSz="1155700">
            <a:lnSpc>
              <a:spcPct val="90000"/>
            </a:lnSpc>
            <a:spcBef>
              <a:spcPct val="0"/>
            </a:spcBef>
            <a:spcAft>
              <a:spcPct val="35000"/>
            </a:spcAft>
            <a:buNone/>
          </a:pPr>
          <a:r>
            <a:rPr lang="en-US" sz="2600" kern="1200" dirty="0"/>
            <a:t>Requires good internet connectivity </a:t>
          </a:r>
        </a:p>
      </dsp:txBody>
      <dsp:txXfrm>
        <a:off x="839935" y="4206470"/>
        <a:ext cx="8444837" cy="767712"/>
      </dsp:txXfrm>
    </dsp:sp>
    <dsp:sp modelId="{3055ED1F-2D00-4F74-8732-FD6FA2445EBA}">
      <dsp:nvSpPr>
        <dsp:cNvPr id="0" name=""/>
        <dsp:cNvSpPr/>
      </dsp:nvSpPr>
      <dsp:spPr>
        <a:xfrm>
          <a:off x="839935" y="4974183"/>
          <a:ext cx="1125978" cy="187663"/>
        </a:xfrm>
        <a:prstGeom prst="parallelogram">
          <a:avLst>
            <a:gd name="adj" fmla="val 140840"/>
          </a:avLst>
        </a:prstGeom>
        <a:solidFill>
          <a:schemeClr val="accent2">
            <a:hueOff val="4174731"/>
            <a:satOff val="-10717"/>
            <a:lumOff val="-26803"/>
            <a:alphaOff val="0"/>
          </a:schemeClr>
        </a:solidFill>
        <a:ln w="12700" cap="flat" cmpd="sng" algn="ctr">
          <a:solidFill>
            <a:schemeClr val="accent2">
              <a:hueOff val="4174731"/>
              <a:satOff val="-10717"/>
              <a:lumOff val="-2680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9510FA-C6A7-4524-BC0F-1C51945FF5F8}">
      <dsp:nvSpPr>
        <dsp:cNvPr id="0" name=""/>
        <dsp:cNvSpPr/>
      </dsp:nvSpPr>
      <dsp:spPr>
        <a:xfrm>
          <a:off x="2031595" y="4974183"/>
          <a:ext cx="1125978" cy="187663"/>
        </a:xfrm>
        <a:prstGeom prst="parallelogram">
          <a:avLst>
            <a:gd name="adj" fmla="val 140840"/>
          </a:avLst>
        </a:prstGeom>
        <a:solidFill>
          <a:schemeClr val="accent2">
            <a:hueOff val="4323828"/>
            <a:satOff val="-11099"/>
            <a:lumOff val="-27760"/>
            <a:alphaOff val="0"/>
          </a:schemeClr>
        </a:solidFill>
        <a:ln w="12700" cap="flat" cmpd="sng" algn="ctr">
          <a:solidFill>
            <a:schemeClr val="accent2">
              <a:hueOff val="4323828"/>
              <a:satOff val="-11099"/>
              <a:lumOff val="-2776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A6AD21-7910-4BF6-B124-9941F262E2E3}">
      <dsp:nvSpPr>
        <dsp:cNvPr id="0" name=""/>
        <dsp:cNvSpPr/>
      </dsp:nvSpPr>
      <dsp:spPr>
        <a:xfrm>
          <a:off x="3223256" y="4974183"/>
          <a:ext cx="1125978" cy="187663"/>
        </a:xfrm>
        <a:prstGeom prst="parallelogram">
          <a:avLst>
            <a:gd name="adj" fmla="val 140840"/>
          </a:avLst>
        </a:prstGeom>
        <a:solidFill>
          <a:schemeClr val="accent2">
            <a:hueOff val="4472926"/>
            <a:satOff val="-11482"/>
            <a:lumOff val="-28717"/>
            <a:alphaOff val="0"/>
          </a:schemeClr>
        </a:solidFill>
        <a:ln w="12700" cap="flat" cmpd="sng" algn="ctr">
          <a:solidFill>
            <a:schemeClr val="accent2">
              <a:hueOff val="4472926"/>
              <a:satOff val="-11482"/>
              <a:lumOff val="-2871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6CFD1-59F3-466E-BA63-EDC6A87872BC}">
      <dsp:nvSpPr>
        <dsp:cNvPr id="0" name=""/>
        <dsp:cNvSpPr/>
      </dsp:nvSpPr>
      <dsp:spPr>
        <a:xfrm>
          <a:off x="4414916" y="4974183"/>
          <a:ext cx="1125978" cy="187663"/>
        </a:xfrm>
        <a:prstGeom prst="parallelogram">
          <a:avLst>
            <a:gd name="adj" fmla="val 140840"/>
          </a:avLst>
        </a:prstGeom>
        <a:solidFill>
          <a:schemeClr val="accent2">
            <a:hueOff val="4622023"/>
            <a:satOff val="-11865"/>
            <a:lumOff val="-29674"/>
            <a:alphaOff val="0"/>
          </a:schemeClr>
        </a:solidFill>
        <a:ln w="12700" cap="flat" cmpd="sng" algn="ctr">
          <a:solidFill>
            <a:schemeClr val="accent2">
              <a:hueOff val="4622023"/>
              <a:satOff val="-11865"/>
              <a:lumOff val="-296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E5BECD-803F-4B56-B536-EE92351870C7}">
      <dsp:nvSpPr>
        <dsp:cNvPr id="0" name=""/>
        <dsp:cNvSpPr/>
      </dsp:nvSpPr>
      <dsp:spPr>
        <a:xfrm>
          <a:off x="5606576" y="4974183"/>
          <a:ext cx="1125978" cy="187663"/>
        </a:xfrm>
        <a:prstGeom prst="parallelogram">
          <a:avLst>
            <a:gd name="adj" fmla="val 140840"/>
          </a:avLst>
        </a:prstGeom>
        <a:solidFill>
          <a:schemeClr val="accent2">
            <a:hueOff val="4771121"/>
            <a:satOff val="-12248"/>
            <a:lumOff val="-30632"/>
            <a:alphaOff val="0"/>
          </a:schemeClr>
        </a:solidFill>
        <a:ln w="12700" cap="flat" cmpd="sng" algn="ctr">
          <a:solidFill>
            <a:schemeClr val="accent2">
              <a:hueOff val="4771121"/>
              <a:satOff val="-12248"/>
              <a:lumOff val="-3063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89959D-1D01-4AB1-B436-762C467D93B9}">
      <dsp:nvSpPr>
        <dsp:cNvPr id="0" name=""/>
        <dsp:cNvSpPr/>
      </dsp:nvSpPr>
      <dsp:spPr>
        <a:xfrm>
          <a:off x="6798237" y="4974183"/>
          <a:ext cx="1125978" cy="187663"/>
        </a:xfrm>
        <a:prstGeom prst="parallelogram">
          <a:avLst>
            <a:gd name="adj" fmla="val 140840"/>
          </a:avLst>
        </a:prstGeom>
        <a:solidFill>
          <a:schemeClr val="accent2">
            <a:hueOff val="4920218"/>
            <a:satOff val="-12630"/>
            <a:lumOff val="-31589"/>
            <a:alphaOff val="0"/>
          </a:schemeClr>
        </a:solidFill>
        <a:ln w="12700" cap="flat" cmpd="sng" algn="ctr">
          <a:solidFill>
            <a:schemeClr val="accent2">
              <a:hueOff val="4920218"/>
              <a:satOff val="-12630"/>
              <a:lumOff val="-3158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E39CA4-DD64-4664-B5DF-92A8E6318C0F}">
      <dsp:nvSpPr>
        <dsp:cNvPr id="0" name=""/>
        <dsp:cNvSpPr/>
      </dsp:nvSpPr>
      <dsp:spPr>
        <a:xfrm>
          <a:off x="7989897" y="4974183"/>
          <a:ext cx="1125978" cy="187663"/>
        </a:xfrm>
        <a:prstGeom prst="parallelogram">
          <a:avLst>
            <a:gd name="adj" fmla="val 140840"/>
          </a:avLst>
        </a:prstGeom>
        <a:solidFill>
          <a:schemeClr val="accent2">
            <a:hueOff val="5069316"/>
            <a:satOff val="-13013"/>
            <a:lumOff val="-32546"/>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736B52-FDD6-490D-A2F2-D39F53660858}">
      <dsp:nvSpPr>
        <dsp:cNvPr id="0" name=""/>
        <dsp:cNvSpPr/>
      </dsp:nvSpPr>
      <dsp:spPr>
        <a:xfrm>
          <a:off x="1223858" y="896"/>
          <a:ext cx="1953360" cy="195336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IaaS</a:t>
          </a:r>
        </a:p>
      </dsp:txBody>
      <dsp:txXfrm>
        <a:off x="1509921" y="286959"/>
        <a:ext cx="1381234" cy="1381234"/>
      </dsp:txXfrm>
    </dsp:sp>
    <dsp:sp modelId="{FE65C15B-04B2-4CBD-A291-71683D740BBF}">
      <dsp:nvSpPr>
        <dsp:cNvPr id="0" name=""/>
        <dsp:cNvSpPr/>
      </dsp:nvSpPr>
      <dsp:spPr>
        <a:xfrm>
          <a:off x="1634064" y="2112869"/>
          <a:ext cx="1132948" cy="1132948"/>
        </a:xfrm>
        <a:prstGeom prst="mathPlus">
          <a:avLst/>
        </a:prstGeom>
        <a:solidFill>
          <a:schemeClr val="tx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1784236" y="2546108"/>
        <a:ext cx="832604" cy="266470"/>
      </dsp:txXfrm>
    </dsp:sp>
    <dsp:sp modelId="{157A940C-A17A-4A97-A899-FBFE8AAB42CB}">
      <dsp:nvSpPr>
        <dsp:cNvPr id="0" name=""/>
        <dsp:cNvSpPr/>
      </dsp:nvSpPr>
      <dsp:spPr>
        <a:xfrm>
          <a:off x="1223858" y="3404431"/>
          <a:ext cx="1953360" cy="1953360"/>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1778000">
            <a:lnSpc>
              <a:spcPct val="90000"/>
            </a:lnSpc>
            <a:spcBef>
              <a:spcPct val="0"/>
            </a:spcBef>
            <a:spcAft>
              <a:spcPct val="35000"/>
            </a:spcAft>
            <a:buNone/>
          </a:pPr>
          <a:r>
            <a:rPr lang="en-US" sz="4000" kern="1200" dirty="0"/>
            <a:t>PaaS</a:t>
          </a:r>
        </a:p>
      </dsp:txBody>
      <dsp:txXfrm>
        <a:off x="1509921" y="3690494"/>
        <a:ext cx="1381234" cy="1381234"/>
      </dsp:txXfrm>
    </dsp:sp>
    <dsp:sp modelId="{960BA3AE-41BA-45F4-8E43-7E711D4DE985}">
      <dsp:nvSpPr>
        <dsp:cNvPr id="0" name=""/>
        <dsp:cNvSpPr/>
      </dsp:nvSpPr>
      <dsp:spPr>
        <a:xfrm>
          <a:off x="3470223" y="2316018"/>
          <a:ext cx="621168" cy="726650"/>
        </a:xfrm>
        <a:prstGeom prst="mathEqual">
          <a:avLst/>
        </a:prstGeom>
        <a:solidFill>
          <a:schemeClr val="accent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3470223" y="2461348"/>
        <a:ext cx="434818" cy="435990"/>
      </dsp:txXfrm>
    </dsp:sp>
    <dsp:sp modelId="{9164B51D-773E-4708-9D00-3B1DDFA52561}">
      <dsp:nvSpPr>
        <dsp:cNvPr id="0" name=""/>
        <dsp:cNvSpPr/>
      </dsp:nvSpPr>
      <dsp:spPr>
        <a:xfrm>
          <a:off x="4349235" y="725983"/>
          <a:ext cx="3906720" cy="3906720"/>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230" tIns="62230" rIns="62230" bIns="62230" numCol="1" spcCol="1270" anchor="ctr" anchorCtr="0">
          <a:noAutofit/>
        </a:bodyPr>
        <a:lstStyle/>
        <a:p>
          <a:pPr marL="0" lvl="0" indent="0" algn="ctr" defTabSz="2178050">
            <a:lnSpc>
              <a:spcPct val="90000"/>
            </a:lnSpc>
            <a:spcBef>
              <a:spcPct val="0"/>
            </a:spcBef>
            <a:spcAft>
              <a:spcPct val="35000"/>
            </a:spcAft>
            <a:buNone/>
          </a:pPr>
          <a:r>
            <a:rPr lang="en-US" sz="4900" kern="1200" dirty="0"/>
            <a:t>Cloud Platform</a:t>
          </a:r>
        </a:p>
      </dsp:txBody>
      <dsp:txXfrm>
        <a:off x="4921361" y="1298109"/>
        <a:ext cx="2762468" cy="276246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8C5BC9-F449-46B7-B9D9-DDAA761AEE0E}">
      <dsp:nvSpPr>
        <dsp:cNvPr id="0" name=""/>
        <dsp:cNvSpPr/>
      </dsp:nvSpPr>
      <dsp:spPr>
        <a:xfrm>
          <a:off x="27" y="199415"/>
          <a:ext cx="2590419" cy="3168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kern="1200" dirty="0"/>
            <a:t>IaaS</a:t>
          </a:r>
        </a:p>
      </dsp:txBody>
      <dsp:txXfrm>
        <a:off x="27" y="199415"/>
        <a:ext cx="2590419" cy="316800"/>
      </dsp:txXfrm>
    </dsp:sp>
    <dsp:sp modelId="{23DB2A27-802F-4100-876B-BC7A105E93E2}">
      <dsp:nvSpPr>
        <dsp:cNvPr id="0" name=""/>
        <dsp:cNvSpPr/>
      </dsp:nvSpPr>
      <dsp:spPr>
        <a:xfrm>
          <a:off x="27" y="516215"/>
          <a:ext cx="2590419" cy="2151393"/>
        </a:xfrm>
        <a:prstGeom prst="rect">
          <a:avLst/>
        </a:prstGeom>
        <a:solidFill>
          <a:schemeClr val="lt1">
            <a:alpha val="90000"/>
            <a:tint val="40000"/>
            <a:hueOff val="0"/>
            <a:satOff val="0"/>
            <a:lumOff val="0"/>
            <a:alphaOff val="0"/>
          </a:schemeClr>
        </a:solidFill>
        <a:ln w="12700" cap="flat" cmpd="sng" algn="ctr">
          <a:solidFill>
            <a:schemeClr val="dk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just" defTabSz="488950">
            <a:lnSpc>
              <a:spcPct val="150000"/>
            </a:lnSpc>
            <a:spcBef>
              <a:spcPct val="0"/>
            </a:spcBef>
            <a:spcAft>
              <a:spcPct val="15000"/>
            </a:spcAft>
            <a:buChar char="•"/>
          </a:pPr>
          <a:r>
            <a:rPr lang="en-US" sz="1100" kern="1200" dirty="0"/>
            <a:t>Network architects or developers can create virtual machines on demand from a library of preexisting VM images</a:t>
          </a:r>
        </a:p>
        <a:p>
          <a:pPr marL="57150" lvl="1" indent="-57150" algn="just" defTabSz="488950">
            <a:lnSpc>
              <a:spcPct val="150000"/>
            </a:lnSpc>
            <a:spcBef>
              <a:spcPct val="0"/>
            </a:spcBef>
            <a:spcAft>
              <a:spcPct val="15000"/>
            </a:spcAft>
            <a:buChar char="•"/>
          </a:pPr>
          <a:r>
            <a:rPr lang="en-US" sz="1100" kern="1200" dirty="0"/>
            <a:t>Network architects or developers need to manage VM's and DBMS and configure the load balancers </a:t>
          </a:r>
        </a:p>
      </dsp:txBody>
      <dsp:txXfrm>
        <a:off x="27" y="516215"/>
        <a:ext cx="2590419" cy="2151393"/>
      </dsp:txXfrm>
    </dsp:sp>
    <dsp:sp modelId="{45E044B4-25A6-4362-9126-E43D8C0DCF4C}">
      <dsp:nvSpPr>
        <dsp:cNvPr id="0" name=""/>
        <dsp:cNvSpPr/>
      </dsp:nvSpPr>
      <dsp:spPr>
        <a:xfrm>
          <a:off x="2953104" y="199415"/>
          <a:ext cx="2590419" cy="31680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US" sz="1100" b="1" kern="1200" dirty="0"/>
            <a:t>PaaS</a:t>
          </a:r>
        </a:p>
      </dsp:txBody>
      <dsp:txXfrm>
        <a:off x="2953104" y="199415"/>
        <a:ext cx="2590419" cy="316800"/>
      </dsp:txXfrm>
    </dsp:sp>
    <dsp:sp modelId="{048F8F3E-96F5-45FA-BD74-F61E649D927C}">
      <dsp:nvSpPr>
        <dsp:cNvPr id="0" name=""/>
        <dsp:cNvSpPr/>
      </dsp:nvSpPr>
      <dsp:spPr>
        <a:xfrm>
          <a:off x="2953104" y="516215"/>
          <a:ext cx="2590419" cy="2151393"/>
        </a:xfrm>
        <a:prstGeom prst="rect">
          <a:avLst/>
        </a:prstGeom>
        <a:solidFill>
          <a:schemeClr val="lt1">
            <a:alpha val="90000"/>
            <a:tint val="40000"/>
            <a:hueOff val="0"/>
            <a:satOff val="0"/>
            <a:lumOff val="0"/>
            <a:alphaOff val="0"/>
          </a:schemeClr>
        </a:solidFill>
        <a:ln w="12700" cap="flat" cmpd="sng" algn="ctr">
          <a:solidFill>
            <a:schemeClr val="dk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just" defTabSz="488950">
            <a:lnSpc>
              <a:spcPct val="150000"/>
            </a:lnSpc>
            <a:spcBef>
              <a:spcPct val="0"/>
            </a:spcBef>
            <a:spcAft>
              <a:spcPct val="15000"/>
            </a:spcAft>
            <a:buChar char="•"/>
          </a:pPr>
          <a:r>
            <a:rPr lang="en-US" sz="1100" kern="1200" dirty="0"/>
            <a:t>Developers don't create VMs directly rather they provide an application to platform with the platform then runs</a:t>
          </a:r>
        </a:p>
        <a:p>
          <a:pPr marL="57150" lvl="1" indent="-57150" algn="just" defTabSz="488950">
            <a:lnSpc>
              <a:spcPct val="150000"/>
            </a:lnSpc>
            <a:spcBef>
              <a:spcPct val="0"/>
            </a:spcBef>
            <a:spcAft>
              <a:spcPct val="15000"/>
            </a:spcAft>
            <a:buChar char="•"/>
          </a:pPr>
          <a:r>
            <a:rPr lang="en-US" sz="1100" kern="1200" dirty="0"/>
            <a:t>It's like a pre-existing application platform so that developers just need to create database , add data and deploy the application, no need to manage  VM's </a:t>
          </a:r>
        </a:p>
        <a:p>
          <a:pPr marL="57150" lvl="1" indent="-57150" algn="l" defTabSz="488950">
            <a:lnSpc>
              <a:spcPct val="90000"/>
            </a:lnSpc>
            <a:spcBef>
              <a:spcPct val="0"/>
            </a:spcBef>
            <a:spcAft>
              <a:spcPct val="15000"/>
            </a:spcAft>
            <a:buChar char="•"/>
          </a:pPr>
          <a:endParaRPr lang="en-US" sz="1100" kern="1200" dirty="0"/>
        </a:p>
      </dsp:txBody>
      <dsp:txXfrm>
        <a:off x="2953104" y="516215"/>
        <a:ext cx="2590419" cy="215139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1C14F-1159-4419-99D2-22A26F86EF16}">
      <dsp:nvSpPr>
        <dsp:cNvPr id="0" name=""/>
        <dsp:cNvSpPr/>
      </dsp:nvSpPr>
      <dsp:spPr>
        <a:xfrm>
          <a:off x="-5838805" y="-893600"/>
          <a:ext cx="6951156" cy="6951156"/>
        </a:xfrm>
        <a:prstGeom prst="blockArc">
          <a:avLst>
            <a:gd name="adj1" fmla="val 18900000"/>
            <a:gd name="adj2" fmla="val 2700000"/>
            <a:gd name="adj3" fmla="val 311"/>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89B64C-BFAC-4AA1-BB04-587A902CFE6E}">
      <dsp:nvSpPr>
        <dsp:cNvPr id="0" name=""/>
        <dsp:cNvSpPr/>
      </dsp:nvSpPr>
      <dsp:spPr>
        <a:xfrm>
          <a:off x="582230" y="397004"/>
          <a:ext cx="9469918" cy="7944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0573" tIns="104140" rIns="104140" bIns="104140" numCol="1" spcCol="1270" anchor="ctr" anchorCtr="0">
          <a:noAutofit/>
        </a:bodyPr>
        <a:lstStyle/>
        <a:p>
          <a:pPr marL="0" lvl="0" indent="0" algn="l" defTabSz="1822450">
            <a:lnSpc>
              <a:spcPct val="90000"/>
            </a:lnSpc>
            <a:spcBef>
              <a:spcPct val="0"/>
            </a:spcBef>
            <a:spcAft>
              <a:spcPct val="35000"/>
            </a:spcAft>
            <a:buNone/>
          </a:pPr>
          <a:r>
            <a:rPr lang="en-US" sz="4100" kern="1200" dirty="0"/>
            <a:t>Full Control</a:t>
          </a:r>
        </a:p>
      </dsp:txBody>
      <dsp:txXfrm>
        <a:off x="582230" y="397004"/>
        <a:ext cx="9469918" cy="794422"/>
      </dsp:txXfrm>
    </dsp:sp>
    <dsp:sp modelId="{495578B1-41E9-461D-A772-FD417989853D}">
      <dsp:nvSpPr>
        <dsp:cNvPr id="0" name=""/>
        <dsp:cNvSpPr/>
      </dsp:nvSpPr>
      <dsp:spPr>
        <a:xfrm>
          <a:off x="85716" y="297702"/>
          <a:ext cx="993028" cy="99302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26B5C4-8FFF-418A-B071-D0C9CF529949}">
      <dsp:nvSpPr>
        <dsp:cNvPr id="0" name=""/>
        <dsp:cNvSpPr/>
      </dsp:nvSpPr>
      <dsp:spPr>
        <a:xfrm>
          <a:off x="1037691" y="1588845"/>
          <a:ext cx="9014457" cy="794422"/>
        </a:xfrm>
        <a:prstGeom prst="rect">
          <a:avLst/>
        </a:prstGeom>
        <a:solidFill>
          <a:schemeClr val="accent2">
            <a:hueOff val="1689772"/>
            <a:satOff val="-4338"/>
            <a:lumOff val="-108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0573" tIns="104140" rIns="104140" bIns="104140" numCol="1" spcCol="1270" anchor="ctr" anchorCtr="0">
          <a:noAutofit/>
        </a:bodyPr>
        <a:lstStyle/>
        <a:p>
          <a:pPr marL="0" lvl="0" indent="0" algn="l" defTabSz="1822450">
            <a:lnSpc>
              <a:spcPct val="90000"/>
            </a:lnSpc>
            <a:spcBef>
              <a:spcPct val="0"/>
            </a:spcBef>
            <a:spcAft>
              <a:spcPct val="35000"/>
            </a:spcAft>
            <a:buNone/>
          </a:pPr>
          <a:r>
            <a:rPr lang="en-US" sz="4100" kern="1200" dirty="0"/>
            <a:t>Can run anything inside VM</a:t>
          </a:r>
        </a:p>
      </dsp:txBody>
      <dsp:txXfrm>
        <a:off x="1037691" y="1588845"/>
        <a:ext cx="9014457" cy="794422"/>
      </dsp:txXfrm>
    </dsp:sp>
    <dsp:sp modelId="{FC83BC77-C0E9-48F0-BE7A-5486B8B87C68}">
      <dsp:nvSpPr>
        <dsp:cNvPr id="0" name=""/>
        <dsp:cNvSpPr/>
      </dsp:nvSpPr>
      <dsp:spPr>
        <a:xfrm>
          <a:off x="541176" y="1489543"/>
          <a:ext cx="993028" cy="993028"/>
        </a:xfrm>
        <a:prstGeom prst="ellipse">
          <a:avLst/>
        </a:prstGeom>
        <a:solidFill>
          <a:schemeClr val="lt1">
            <a:hueOff val="0"/>
            <a:satOff val="0"/>
            <a:lumOff val="0"/>
            <a:alphaOff val="0"/>
          </a:schemeClr>
        </a:solidFill>
        <a:ln w="12700" cap="flat" cmpd="sng" algn="ctr">
          <a:solidFill>
            <a:schemeClr val="accent2">
              <a:hueOff val="1689772"/>
              <a:satOff val="-4338"/>
              <a:lumOff val="-10849"/>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910478-2ED3-479F-823B-A4FC35F35683}">
      <dsp:nvSpPr>
        <dsp:cNvPr id="0" name=""/>
        <dsp:cNvSpPr/>
      </dsp:nvSpPr>
      <dsp:spPr>
        <a:xfrm>
          <a:off x="1037691" y="2780687"/>
          <a:ext cx="9014457" cy="794422"/>
        </a:xfrm>
        <a:prstGeom prst="rect">
          <a:avLst/>
        </a:prstGeom>
        <a:solidFill>
          <a:schemeClr val="accent2">
            <a:hueOff val="3379544"/>
            <a:satOff val="-8675"/>
            <a:lumOff val="-216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0573" tIns="104140" rIns="104140" bIns="104140" numCol="1" spcCol="1270" anchor="ctr" anchorCtr="0">
          <a:noAutofit/>
        </a:bodyPr>
        <a:lstStyle/>
        <a:p>
          <a:pPr marL="0" lvl="0" indent="0" algn="l" defTabSz="1822450">
            <a:lnSpc>
              <a:spcPct val="90000"/>
            </a:lnSpc>
            <a:spcBef>
              <a:spcPct val="0"/>
            </a:spcBef>
            <a:spcAft>
              <a:spcPct val="35000"/>
            </a:spcAft>
            <a:buNone/>
          </a:pPr>
          <a:r>
            <a:rPr lang="en-US" sz="4100" kern="1200" dirty="0"/>
            <a:t>Pay-as-you-go</a:t>
          </a:r>
        </a:p>
      </dsp:txBody>
      <dsp:txXfrm>
        <a:off x="1037691" y="2780687"/>
        <a:ext cx="9014457" cy="794422"/>
      </dsp:txXfrm>
    </dsp:sp>
    <dsp:sp modelId="{7412A93B-5992-43F8-B89D-7A5CAD4A0A77}">
      <dsp:nvSpPr>
        <dsp:cNvPr id="0" name=""/>
        <dsp:cNvSpPr/>
      </dsp:nvSpPr>
      <dsp:spPr>
        <a:xfrm>
          <a:off x="541176" y="2681384"/>
          <a:ext cx="993028" cy="993028"/>
        </a:xfrm>
        <a:prstGeom prst="ellipse">
          <a:avLst/>
        </a:prstGeom>
        <a:solidFill>
          <a:schemeClr val="lt1">
            <a:hueOff val="0"/>
            <a:satOff val="0"/>
            <a:lumOff val="0"/>
            <a:alphaOff val="0"/>
          </a:schemeClr>
        </a:solidFill>
        <a:ln w="12700" cap="flat" cmpd="sng" algn="ctr">
          <a:solidFill>
            <a:schemeClr val="accent2">
              <a:hueOff val="3379544"/>
              <a:satOff val="-8675"/>
              <a:lumOff val="-21697"/>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0D3D03-531B-4E94-B03C-BBC24957CD19}">
      <dsp:nvSpPr>
        <dsp:cNvPr id="0" name=""/>
        <dsp:cNvSpPr/>
      </dsp:nvSpPr>
      <dsp:spPr>
        <a:xfrm>
          <a:off x="582230" y="3972528"/>
          <a:ext cx="9469918" cy="794422"/>
        </a:xfrm>
        <a:prstGeom prst="rect">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0573" tIns="104140" rIns="104140" bIns="104140" numCol="1" spcCol="1270" anchor="ctr" anchorCtr="0">
          <a:noAutofit/>
        </a:bodyPr>
        <a:lstStyle/>
        <a:p>
          <a:pPr marL="0" lvl="0" indent="0" algn="l" defTabSz="1822450">
            <a:lnSpc>
              <a:spcPct val="90000"/>
            </a:lnSpc>
            <a:spcBef>
              <a:spcPct val="0"/>
            </a:spcBef>
            <a:spcAft>
              <a:spcPct val="35000"/>
            </a:spcAft>
            <a:buNone/>
          </a:pPr>
          <a:r>
            <a:rPr lang="en-US" sz="4100" kern="1200" dirty="0"/>
            <a:t>Easier Maintenance</a:t>
          </a:r>
        </a:p>
      </dsp:txBody>
      <dsp:txXfrm>
        <a:off x="582230" y="3972528"/>
        <a:ext cx="9469918" cy="794422"/>
      </dsp:txXfrm>
    </dsp:sp>
    <dsp:sp modelId="{9A299449-F6C3-42DE-9440-199CA6A32B72}">
      <dsp:nvSpPr>
        <dsp:cNvPr id="0" name=""/>
        <dsp:cNvSpPr/>
      </dsp:nvSpPr>
      <dsp:spPr>
        <a:xfrm>
          <a:off x="85716" y="3873225"/>
          <a:ext cx="993028" cy="993028"/>
        </a:xfrm>
        <a:prstGeom prst="ellipse">
          <a:avLst/>
        </a:prstGeom>
        <a:solidFill>
          <a:schemeClr val="lt1">
            <a:hueOff val="0"/>
            <a:satOff val="0"/>
            <a:lumOff val="0"/>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68F560-4B97-487B-84DB-96A8ADD769B2}">
      <dsp:nvSpPr>
        <dsp:cNvPr id="0" name=""/>
        <dsp:cNvSpPr/>
      </dsp:nvSpPr>
      <dsp:spPr>
        <a:xfrm>
          <a:off x="506235" y="1499459"/>
          <a:ext cx="9112237" cy="828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b" anchorCtr="0">
          <a:noAutofit/>
        </a:bodyPr>
        <a:lstStyle/>
        <a:p>
          <a:pPr marL="0" lvl="0" indent="0" algn="l" defTabSz="1600200">
            <a:lnSpc>
              <a:spcPct val="90000"/>
            </a:lnSpc>
            <a:spcBef>
              <a:spcPct val="0"/>
            </a:spcBef>
            <a:spcAft>
              <a:spcPct val="35000"/>
            </a:spcAft>
            <a:buNone/>
          </a:pPr>
          <a:r>
            <a:rPr lang="en-US" sz="3600" kern="1200" dirty="0"/>
            <a:t>Most expensive</a:t>
          </a:r>
        </a:p>
      </dsp:txBody>
      <dsp:txXfrm>
        <a:off x="506235" y="1499459"/>
        <a:ext cx="9112237" cy="828385"/>
      </dsp:txXfrm>
    </dsp:sp>
    <dsp:sp modelId="{9A1CD9D9-750B-4F4F-9B04-CD9EAF98A833}">
      <dsp:nvSpPr>
        <dsp:cNvPr id="0" name=""/>
        <dsp:cNvSpPr/>
      </dsp:nvSpPr>
      <dsp:spPr>
        <a:xfrm>
          <a:off x="506235" y="2327844"/>
          <a:ext cx="1214964" cy="202494"/>
        </a:xfrm>
        <a:prstGeom prst="parallelogram">
          <a:avLst>
            <a:gd name="adj" fmla="val 14084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08E809-F190-4574-8566-E644C1A8F160}">
      <dsp:nvSpPr>
        <dsp:cNvPr id="0" name=""/>
        <dsp:cNvSpPr/>
      </dsp:nvSpPr>
      <dsp:spPr>
        <a:xfrm>
          <a:off x="1792073" y="2327844"/>
          <a:ext cx="1214964" cy="202494"/>
        </a:xfrm>
        <a:prstGeom prst="parallelogram">
          <a:avLst>
            <a:gd name="adj" fmla="val 140840"/>
          </a:avLst>
        </a:prstGeom>
        <a:solidFill>
          <a:schemeClr val="accent2">
            <a:hueOff val="389947"/>
            <a:satOff val="-1001"/>
            <a:lumOff val="-2504"/>
            <a:alphaOff val="0"/>
          </a:schemeClr>
        </a:solidFill>
        <a:ln w="12700" cap="flat" cmpd="sng" algn="ctr">
          <a:solidFill>
            <a:schemeClr val="accent2">
              <a:hueOff val="389947"/>
              <a:satOff val="-1001"/>
              <a:lumOff val="-250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50135F-336F-42EC-95EB-0229BA4B822C}">
      <dsp:nvSpPr>
        <dsp:cNvPr id="0" name=""/>
        <dsp:cNvSpPr/>
      </dsp:nvSpPr>
      <dsp:spPr>
        <a:xfrm>
          <a:off x="3077911" y="2327844"/>
          <a:ext cx="1214964" cy="202494"/>
        </a:xfrm>
        <a:prstGeom prst="parallelogram">
          <a:avLst>
            <a:gd name="adj" fmla="val 140840"/>
          </a:avLst>
        </a:prstGeom>
        <a:solidFill>
          <a:schemeClr val="accent2">
            <a:hueOff val="779895"/>
            <a:satOff val="-2002"/>
            <a:lumOff val="-5007"/>
            <a:alphaOff val="0"/>
          </a:schemeClr>
        </a:solidFill>
        <a:ln w="12700" cap="flat" cmpd="sng" algn="ctr">
          <a:solidFill>
            <a:schemeClr val="accent2">
              <a:hueOff val="779895"/>
              <a:satOff val="-2002"/>
              <a:lumOff val="-500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6D3DA6-41C7-4E3F-9668-B8035C9E7479}">
      <dsp:nvSpPr>
        <dsp:cNvPr id="0" name=""/>
        <dsp:cNvSpPr/>
      </dsp:nvSpPr>
      <dsp:spPr>
        <a:xfrm>
          <a:off x="4363749" y="2327844"/>
          <a:ext cx="1214964" cy="202494"/>
        </a:xfrm>
        <a:prstGeom prst="parallelogram">
          <a:avLst>
            <a:gd name="adj" fmla="val 140840"/>
          </a:avLst>
        </a:prstGeom>
        <a:solidFill>
          <a:schemeClr val="accent2">
            <a:hueOff val="1169842"/>
            <a:satOff val="-3003"/>
            <a:lumOff val="-7511"/>
            <a:alphaOff val="0"/>
          </a:schemeClr>
        </a:solidFill>
        <a:ln w="12700" cap="flat" cmpd="sng" algn="ctr">
          <a:solidFill>
            <a:schemeClr val="accent2">
              <a:hueOff val="1169842"/>
              <a:satOff val="-3003"/>
              <a:lumOff val="-751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A4DC12-7B25-4686-A334-054B9AA8D154}">
      <dsp:nvSpPr>
        <dsp:cNvPr id="0" name=""/>
        <dsp:cNvSpPr/>
      </dsp:nvSpPr>
      <dsp:spPr>
        <a:xfrm>
          <a:off x="5649587" y="2327844"/>
          <a:ext cx="1214964" cy="202494"/>
        </a:xfrm>
        <a:prstGeom prst="parallelogram">
          <a:avLst>
            <a:gd name="adj" fmla="val 140840"/>
          </a:avLst>
        </a:prstGeom>
        <a:solidFill>
          <a:schemeClr val="accent2">
            <a:hueOff val="1559790"/>
            <a:satOff val="-4004"/>
            <a:lumOff val="-10014"/>
            <a:alphaOff val="0"/>
          </a:schemeClr>
        </a:solidFill>
        <a:ln w="12700" cap="flat" cmpd="sng" algn="ctr">
          <a:solidFill>
            <a:schemeClr val="accent2">
              <a:hueOff val="1559790"/>
              <a:satOff val="-4004"/>
              <a:lumOff val="-100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455300-7285-429D-A54A-673C05B710CC}">
      <dsp:nvSpPr>
        <dsp:cNvPr id="0" name=""/>
        <dsp:cNvSpPr/>
      </dsp:nvSpPr>
      <dsp:spPr>
        <a:xfrm>
          <a:off x="6935424" y="2327844"/>
          <a:ext cx="1214964" cy="202494"/>
        </a:xfrm>
        <a:prstGeom prst="parallelogram">
          <a:avLst>
            <a:gd name="adj" fmla="val 140840"/>
          </a:avLst>
        </a:prstGeom>
        <a:solidFill>
          <a:schemeClr val="accent2">
            <a:hueOff val="1949737"/>
            <a:satOff val="-5005"/>
            <a:lumOff val="-12518"/>
            <a:alphaOff val="0"/>
          </a:schemeClr>
        </a:solidFill>
        <a:ln w="12700" cap="flat" cmpd="sng" algn="ctr">
          <a:solidFill>
            <a:schemeClr val="accent2">
              <a:hueOff val="1949737"/>
              <a:satOff val="-5005"/>
              <a:lumOff val="-1251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9F137B-52FA-4702-AC12-BA375C60538C}">
      <dsp:nvSpPr>
        <dsp:cNvPr id="0" name=""/>
        <dsp:cNvSpPr/>
      </dsp:nvSpPr>
      <dsp:spPr>
        <a:xfrm>
          <a:off x="8221262" y="2327844"/>
          <a:ext cx="1214964" cy="202494"/>
        </a:xfrm>
        <a:prstGeom prst="parallelogram">
          <a:avLst>
            <a:gd name="adj" fmla="val 140840"/>
          </a:avLst>
        </a:prstGeom>
        <a:solidFill>
          <a:schemeClr val="accent2">
            <a:hueOff val="2339684"/>
            <a:satOff val="-6006"/>
            <a:lumOff val="-15021"/>
            <a:alphaOff val="0"/>
          </a:schemeClr>
        </a:solidFill>
        <a:ln w="12700" cap="flat" cmpd="sng" algn="ctr">
          <a:solidFill>
            <a:schemeClr val="accent2">
              <a:hueOff val="2339684"/>
              <a:satOff val="-6006"/>
              <a:lumOff val="-1502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B437BC-8901-48FC-9076-105F2B43510E}">
      <dsp:nvSpPr>
        <dsp:cNvPr id="0" name=""/>
        <dsp:cNvSpPr/>
      </dsp:nvSpPr>
      <dsp:spPr>
        <a:xfrm>
          <a:off x="506235" y="2633617"/>
          <a:ext cx="9112237" cy="828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b" anchorCtr="0">
          <a:noAutofit/>
        </a:bodyPr>
        <a:lstStyle/>
        <a:p>
          <a:pPr marL="0" lvl="0" indent="0" algn="l" defTabSz="1600200">
            <a:lnSpc>
              <a:spcPct val="90000"/>
            </a:lnSpc>
            <a:spcBef>
              <a:spcPct val="0"/>
            </a:spcBef>
            <a:spcAft>
              <a:spcPct val="35000"/>
            </a:spcAft>
            <a:buNone/>
          </a:pPr>
          <a:r>
            <a:rPr lang="en-US" sz="3600" kern="1200" dirty="0"/>
            <a:t>More responsibility</a:t>
          </a:r>
        </a:p>
      </dsp:txBody>
      <dsp:txXfrm>
        <a:off x="506235" y="2633617"/>
        <a:ext cx="9112237" cy="828385"/>
      </dsp:txXfrm>
    </dsp:sp>
    <dsp:sp modelId="{90FC1EC3-DEE6-4556-B4C8-B049B599FB42}">
      <dsp:nvSpPr>
        <dsp:cNvPr id="0" name=""/>
        <dsp:cNvSpPr/>
      </dsp:nvSpPr>
      <dsp:spPr>
        <a:xfrm>
          <a:off x="506235" y="3462002"/>
          <a:ext cx="1214964" cy="202494"/>
        </a:xfrm>
        <a:prstGeom prst="parallelogram">
          <a:avLst>
            <a:gd name="adj" fmla="val 140840"/>
          </a:avLst>
        </a:prstGeom>
        <a:solidFill>
          <a:schemeClr val="accent2">
            <a:hueOff val="2729632"/>
            <a:satOff val="-7007"/>
            <a:lumOff val="-17525"/>
            <a:alphaOff val="0"/>
          </a:schemeClr>
        </a:solidFill>
        <a:ln w="12700" cap="flat" cmpd="sng" algn="ctr">
          <a:solidFill>
            <a:schemeClr val="accent2">
              <a:hueOff val="2729632"/>
              <a:satOff val="-7007"/>
              <a:lumOff val="-1752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16AFA5-7CB1-4DB6-8F76-ADD862C3F086}">
      <dsp:nvSpPr>
        <dsp:cNvPr id="0" name=""/>
        <dsp:cNvSpPr/>
      </dsp:nvSpPr>
      <dsp:spPr>
        <a:xfrm>
          <a:off x="1792073" y="3462002"/>
          <a:ext cx="1214964" cy="202494"/>
        </a:xfrm>
        <a:prstGeom prst="parallelogram">
          <a:avLst>
            <a:gd name="adj" fmla="val 140840"/>
          </a:avLst>
        </a:prstGeom>
        <a:solidFill>
          <a:schemeClr val="accent2">
            <a:hueOff val="3119579"/>
            <a:satOff val="-8008"/>
            <a:lumOff val="-20028"/>
            <a:alphaOff val="0"/>
          </a:schemeClr>
        </a:solidFill>
        <a:ln w="12700" cap="flat" cmpd="sng" algn="ctr">
          <a:solidFill>
            <a:schemeClr val="accent2">
              <a:hueOff val="3119579"/>
              <a:satOff val="-8008"/>
              <a:lumOff val="-200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F25226-7237-4D8E-92BF-8D68ABC6FFB8}">
      <dsp:nvSpPr>
        <dsp:cNvPr id="0" name=""/>
        <dsp:cNvSpPr/>
      </dsp:nvSpPr>
      <dsp:spPr>
        <a:xfrm>
          <a:off x="3077911" y="3462002"/>
          <a:ext cx="1214964" cy="202494"/>
        </a:xfrm>
        <a:prstGeom prst="parallelogram">
          <a:avLst>
            <a:gd name="adj" fmla="val 140840"/>
          </a:avLst>
        </a:prstGeom>
        <a:solidFill>
          <a:schemeClr val="accent2">
            <a:hueOff val="3509527"/>
            <a:satOff val="-9009"/>
            <a:lumOff val="-22532"/>
            <a:alphaOff val="0"/>
          </a:schemeClr>
        </a:solidFill>
        <a:ln w="12700" cap="flat" cmpd="sng" algn="ctr">
          <a:solidFill>
            <a:schemeClr val="accent2">
              <a:hueOff val="3509527"/>
              <a:satOff val="-9009"/>
              <a:lumOff val="-2253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547312-D9F8-4350-86A1-1C040B38C29C}">
      <dsp:nvSpPr>
        <dsp:cNvPr id="0" name=""/>
        <dsp:cNvSpPr/>
      </dsp:nvSpPr>
      <dsp:spPr>
        <a:xfrm>
          <a:off x="4363749" y="3462002"/>
          <a:ext cx="1214964" cy="202494"/>
        </a:xfrm>
        <a:prstGeom prst="parallelogram">
          <a:avLst>
            <a:gd name="adj" fmla="val 140840"/>
          </a:avLst>
        </a:prstGeom>
        <a:solidFill>
          <a:schemeClr val="accent2">
            <a:hueOff val="3899474"/>
            <a:satOff val="-10010"/>
            <a:lumOff val="-25035"/>
            <a:alphaOff val="0"/>
          </a:schemeClr>
        </a:solidFill>
        <a:ln w="12700" cap="flat" cmpd="sng" algn="ctr">
          <a:solidFill>
            <a:schemeClr val="accent2">
              <a:hueOff val="3899474"/>
              <a:satOff val="-10010"/>
              <a:lumOff val="-250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9D93B-368C-47DA-ABF0-E96E4D35BCB1}">
      <dsp:nvSpPr>
        <dsp:cNvPr id="0" name=""/>
        <dsp:cNvSpPr/>
      </dsp:nvSpPr>
      <dsp:spPr>
        <a:xfrm>
          <a:off x="5649587" y="3462002"/>
          <a:ext cx="1214964" cy="202494"/>
        </a:xfrm>
        <a:prstGeom prst="parallelogram">
          <a:avLst>
            <a:gd name="adj" fmla="val 140840"/>
          </a:avLst>
        </a:prstGeom>
        <a:solidFill>
          <a:schemeClr val="accent2">
            <a:hueOff val="4289421"/>
            <a:satOff val="-11011"/>
            <a:lumOff val="-27539"/>
            <a:alphaOff val="0"/>
          </a:schemeClr>
        </a:solidFill>
        <a:ln w="12700" cap="flat" cmpd="sng" algn="ctr">
          <a:solidFill>
            <a:schemeClr val="accent2">
              <a:hueOff val="4289421"/>
              <a:satOff val="-11011"/>
              <a:lumOff val="-275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D96B1-434D-4797-9310-486419B3E7A0}">
      <dsp:nvSpPr>
        <dsp:cNvPr id="0" name=""/>
        <dsp:cNvSpPr/>
      </dsp:nvSpPr>
      <dsp:spPr>
        <a:xfrm>
          <a:off x="6935424" y="3462002"/>
          <a:ext cx="1214964" cy="202494"/>
        </a:xfrm>
        <a:prstGeom prst="parallelogram">
          <a:avLst>
            <a:gd name="adj" fmla="val 140840"/>
          </a:avLst>
        </a:prstGeom>
        <a:solidFill>
          <a:schemeClr val="accent2">
            <a:hueOff val="4679369"/>
            <a:satOff val="-12012"/>
            <a:lumOff val="-30042"/>
            <a:alphaOff val="0"/>
          </a:schemeClr>
        </a:solidFill>
        <a:ln w="12700" cap="flat" cmpd="sng" algn="ctr">
          <a:solidFill>
            <a:schemeClr val="accent2">
              <a:hueOff val="4679369"/>
              <a:satOff val="-12012"/>
              <a:lumOff val="-3004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A3BC49-B45C-4005-879C-11604E3F08BF}">
      <dsp:nvSpPr>
        <dsp:cNvPr id="0" name=""/>
        <dsp:cNvSpPr/>
      </dsp:nvSpPr>
      <dsp:spPr>
        <a:xfrm>
          <a:off x="8221262" y="3462002"/>
          <a:ext cx="1214964" cy="202494"/>
        </a:xfrm>
        <a:prstGeom prst="parallelogram">
          <a:avLst>
            <a:gd name="adj" fmla="val 140840"/>
          </a:avLst>
        </a:prstGeom>
        <a:solidFill>
          <a:schemeClr val="accent2">
            <a:hueOff val="5069316"/>
            <a:satOff val="-13013"/>
            <a:lumOff val="-32546"/>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3EE7F6-D31D-460A-BC6A-8661CBCEA3C8}">
      <dsp:nvSpPr>
        <dsp:cNvPr id="0" name=""/>
        <dsp:cNvSpPr/>
      </dsp:nvSpPr>
      <dsp:spPr>
        <a:xfrm>
          <a:off x="-5838805" y="-893600"/>
          <a:ext cx="6951156" cy="6951156"/>
        </a:xfrm>
        <a:prstGeom prst="blockArc">
          <a:avLst>
            <a:gd name="adj1" fmla="val 18900000"/>
            <a:gd name="adj2" fmla="val 2700000"/>
            <a:gd name="adj3" fmla="val 311"/>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D8B59C-4D1B-46E1-83B5-DD9C8AFB3851}">
      <dsp:nvSpPr>
        <dsp:cNvPr id="0" name=""/>
        <dsp:cNvSpPr/>
      </dsp:nvSpPr>
      <dsp:spPr>
        <a:xfrm>
          <a:off x="486180" y="322643"/>
          <a:ext cx="9565967" cy="64570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525"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dirty="0"/>
            <a:t>Faster deployment</a:t>
          </a:r>
        </a:p>
      </dsp:txBody>
      <dsp:txXfrm>
        <a:off x="486180" y="322643"/>
        <a:ext cx="9565967" cy="645701"/>
      </dsp:txXfrm>
    </dsp:sp>
    <dsp:sp modelId="{E6EE462D-C980-42C1-92D6-48F7E22D2E53}">
      <dsp:nvSpPr>
        <dsp:cNvPr id="0" name=""/>
        <dsp:cNvSpPr/>
      </dsp:nvSpPr>
      <dsp:spPr>
        <a:xfrm>
          <a:off x="82617" y="241931"/>
          <a:ext cx="807126" cy="807126"/>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750DD2-1387-49B9-A20B-EB53B0F7C38E}">
      <dsp:nvSpPr>
        <dsp:cNvPr id="0" name=""/>
        <dsp:cNvSpPr/>
      </dsp:nvSpPr>
      <dsp:spPr>
        <a:xfrm>
          <a:off x="948871" y="1290885"/>
          <a:ext cx="9103277" cy="645701"/>
        </a:xfrm>
        <a:prstGeom prst="rect">
          <a:avLst/>
        </a:prstGeom>
        <a:solidFill>
          <a:schemeClr val="accent2">
            <a:hueOff val="1267329"/>
            <a:satOff val="-3253"/>
            <a:lumOff val="-81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525"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dirty="0"/>
            <a:t>Cost effective</a:t>
          </a:r>
        </a:p>
      </dsp:txBody>
      <dsp:txXfrm>
        <a:off x="948871" y="1290885"/>
        <a:ext cx="9103277" cy="645701"/>
      </dsp:txXfrm>
    </dsp:sp>
    <dsp:sp modelId="{37007D8F-83D2-4503-9849-433CF9B8C516}">
      <dsp:nvSpPr>
        <dsp:cNvPr id="0" name=""/>
        <dsp:cNvSpPr/>
      </dsp:nvSpPr>
      <dsp:spPr>
        <a:xfrm>
          <a:off x="545308" y="1210173"/>
          <a:ext cx="807126" cy="807126"/>
        </a:xfrm>
        <a:prstGeom prst="ellipse">
          <a:avLst/>
        </a:prstGeom>
        <a:solidFill>
          <a:schemeClr val="lt1">
            <a:hueOff val="0"/>
            <a:satOff val="0"/>
            <a:lumOff val="0"/>
            <a:alphaOff val="0"/>
          </a:schemeClr>
        </a:solidFill>
        <a:ln w="12700" cap="flat" cmpd="sng" algn="ctr">
          <a:solidFill>
            <a:schemeClr val="accent2">
              <a:hueOff val="1267329"/>
              <a:satOff val="-3253"/>
              <a:lumOff val="-8137"/>
              <a:alphaOff val="0"/>
            </a:schemeClr>
          </a:solidFill>
          <a:prstDash val="solid"/>
          <a:miter lim="800000"/>
        </a:ln>
        <a:effectLst/>
      </dsp:spPr>
      <dsp:style>
        <a:lnRef idx="2">
          <a:scrgbClr r="0" g="0" b="0"/>
        </a:lnRef>
        <a:fillRef idx="1">
          <a:scrgbClr r="0" g="0" b="0"/>
        </a:fillRef>
        <a:effectRef idx="0">
          <a:scrgbClr r="0" g="0" b="0"/>
        </a:effectRef>
        <a:fontRef idx="minor"/>
      </dsp:style>
    </dsp:sp>
    <dsp:sp modelId="{624534E6-34CB-41C7-BD91-CAE5DB1053FF}">
      <dsp:nvSpPr>
        <dsp:cNvPr id="0" name=""/>
        <dsp:cNvSpPr/>
      </dsp:nvSpPr>
      <dsp:spPr>
        <a:xfrm>
          <a:off x="1090880" y="2259127"/>
          <a:ext cx="8961268" cy="645701"/>
        </a:xfrm>
        <a:prstGeom prst="rect">
          <a:avLst/>
        </a:prstGeom>
        <a:solidFill>
          <a:schemeClr val="accent2">
            <a:hueOff val="2534658"/>
            <a:satOff val="-6506"/>
            <a:lumOff val="-162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525"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dirty="0"/>
            <a:t>Less work</a:t>
          </a:r>
        </a:p>
      </dsp:txBody>
      <dsp:txXfrm>
        <a:off x="1090880" y="2259127"/>
        <a:ext cx="8961268" cy="645701"/>
      </dsp:txXfrm>
    </dsp:sp>
    <dsp:sp modelId="{362E1D10-E502-45E2-A9B8-047F7F3360B5}">
      <dsp:nvSpPr>
        <dsp:cNvPr id="0" name=""/>
        <dsp:cNvSpPr/>
      </dsp:nvSpPr>
      <dsp:spPr>
        <a:xfrm>
          <a:off x="687316" y="2178414"/>
          <a:ext cx="807126" cy="807126"/>
        </a:xfrm>
        <a:prstGeom prst="ellipse">
          <a:avLst/>
        </a:prstGeom>
        <a:solidFill>
          <a:schemeClr val="lt1">
            <a:hueOff val="0"/>
            <a:satOff val="0"/>
            <a:lumOff val="0"/>
            <a:alphaOff val="0"/>
          </a:schemeClr>
        </a:solidFill>
        <a:ln w="12700" cap="flat" cmpd="sng" algn="ctr">
          <a:solidFill>
            <a:schemeClr val="accent2">
              <a:hueOff val="2534658"/>
              <a:satOff val="-6506"/>
              <a:lumOff val="-162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2CE8E8-A896-43DC-8590-8B65317632E4}">
      <dsp:nvSpPr>
        <dsp:cNvPr id="0" name=""/>
        <dsp:cNvSpPr/>
      </dsp:nvSpPr>
      <dsp:spPr>
        <a:xfrm>
          <a:off x="948871" y="3227369"/>
          <a:ext cx="9103277" cy="645701"/>
        </a:xfrm>
        <a:prstGeom prst="rect">
          <a:avLst/>
        </a:prstGeom>
        <a:solidFill>
          <a:schemeClr val="accent2">
            <a:hueOff val="3801987"/>
            <a:satOff val="-9760"/>
            <a:lumOff val="-244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525"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dirty="0"/>
            <a:t>Full control</a:t>
          </a:r>
        </a:p>
      </dsp:txBody>
      <dsp:txXfrm>
        <a:off x="948871" y="3227369"/>
        <a:ext cx="9103277" cy="645701"/>
      </dsp:txXfrm>
    </dsp:sp>
    <dsp:sp modelId="{2C4A69EA-EFBE-4ACD-AF5E-252BB9906AB0}">
      <dsp:nvSpPr>
        <dsp:cNvPr id="0" name=""/>
        <dsp:cNvSpPr/>
      </dsp:nvSpPr>
      <dsp:spPr>
        <a:xfrm>
          <a:off x="545308" y="3146656"/>
          <a:ext cx="807126" cy="807126"/>
        </a:xfrm>
        <a:prstGeom prst="ellipse">
          <a:avLst/>
        </a:prstGeom>
        <a:solidFill>
          <a:schemeClr val="lt1">
            <a:hueOff val="0"/>
            <a:satOff val="0"/>
            <a:lumOff val="0"/>
            <a:alphaOff val="0"/>
          </a:schemeClr>
        </a:solidFill>
        <a:ln w="12700" cap="flat" cmpd="sng" algn="ctr">
          <a:solidFill>
            <a:schemeClr val="accent2">
              <a:hueOff val="3801987"/>
              <a:satOff val="-9760"/>
              <a:lumOff val="-2441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DA71C8A-E4CA-4C69-888E-835F9C2EC85B}">
      <dsp:nvSpPr>
        <dsp:cNvPr id="0" name=""/>
        <dsp:cNvSpPr/>
      </dsp:nvSpPr>
      <dsp:spPr>
        <a:xfrm>
          <a:off x="486180" y="4195610"/>
          <a:ext cx="9565967" cy="645701"/>
        </a:xfrm>
        <a:prstGeom prst="rect">
          <a:avLst/>
        </a:prstGeom>
        <a:solidFill>
          <a:schemeClr val="accent2">
            <a:hueOff val="5069316"/>
            <a:satOff val="-13013"/>
            <a:lumOff val="-325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525"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dirty="0"/>
            <a:t>Minimal management</a:t>
          </a:r>
        </a:p>
      </dsp:txBody>
      <dsp:txXfrm>
        <a:off x="486180" y="4195610"/>
        <a:ext cx="9565967" cy="645701"/>
      </dsp:txXfrm>
    </dsp:sp>
    <dsp:sp modelId="{AEACA7A2-E3E9-4810-B0DE-E1AE78FE6B43}">
      <dsp:nvSpPr>
        <dsp:cNvPr id="0" name=""/>
        <dsp:cNvSpPr/>
      </dsp:nvSpPr>
      <dsp:spPr>
        <a:xfrm>
          <a:off x="82617" y="4114898"/>
          <a:ext cx="807126" cy="807126"/>
        </a:xfrm>
        <a:prstGeom prst="ellipse">
          <a:avLst/>
        </a:prstGeom>
        <a:solidFill>
          <a:schemeClr val="lt1">
            <a:hueOff val="0"/>
            <a:satOff val="0"/>
            <a:lumOff val="0"/>
            <a:alphaOff val="0"/>
          </a:schemeClr>
        </a:solidFill>
        <a:ln w="12700" cap="flat" cmpd="sng" algn="ctr">
          <a:solidFill>
            <a:schemeClr val="accent2">
              <a:hueOff val="5069316"/>
              <a:satOff val="-13013"/>
              <a:lumOff val="-32546"/>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505A97-19D5-4B8D-917D-5FB6727D52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26319FB-1420-4F63-9671-37F8D4BDA0B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C77C54-DC48-4BEB-9FDB-E7BE2A2A725D}" type="datetimeFigureOut">
              <a:rPr lang="en-US" smtClean="0"/>
              <a:t>6/13/2023</a:t>
            </a:fld>
            <a:endParaRPr lang="en-US"/>
          </a:p>
        </p:txBody>
      </p:sp>
      <p:sp>
        <p:nvSpPr>
          <p:cNvPr id="4" name="Footer Placeholder 3">
            <a:extLst>
              <a:ext uri="{FF2B5EF4-FFF2-40B4-BE49-F238E27FC236}">
                <a16:creationId xmlns:a16="http://schemas.microsoft.com/office/drawing/2014/main" id="{597D6981-6AE4-4B01-B4E6-535B4ADD3A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FF95730-572F-438D-8031-26EE68CD4A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E6F665-FCC6-499C-92BC-8ADE43D1F8C7}" type="slidenum">
              <a:rPr lang="en-US" smtClean="0"/>
              <a:t>‹#›</a:t>
            </a:fld>
            <a:endParaRPr lang="en-US"/>
          </a:p>
        </p:txBody>
      </p:sp>
    </p:spTree>
    <p:extLst>
      <p:ext uri="{BB962C8B-B14F-4D97-AF65-F5344CB8AC3E}">
        <p14:creationId xmlns:p14="http://schemas.microsoft.com/office/powerpoint/2010/main" val="1065643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AB5752-9BC3-43EC-9D14-DBEEB8288467}" type="datetimeFigureOut">
              <a:rPr lang="en-US" smtClean="0"/>
              <a:t>6/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E6101B-A11D-4C18-920C-0F59B31C7EF2}" type="slidenum">
              <a:rPr lang="en-US" smtClean="0"/>
              <a:t>‹#›</a:t>
            </a:fld>
            <a:endParaRPr lang="en-US"/>
          </a:p>
        </p:txBody>
      </p:sp>
    </p:spTree>
    <p:extLst>
      <p:ext uri="{BB962C8B-B14F-4D97-AF65-F5344CB8AC3E}">
        <p14:creationId xmlns:p14="http://schemas.microsoft.com/office/powerpoint/2010/main" val="2568593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1</a:t>
            </a:fld>
            <a:endParaRPr lang="en-US"/>
          </a:p>
        </p:txBody>
      </p:sp>
    </p:spTree>
    <p:extLst>
      <p:ext uri="{BB962C8B-B14F-4D97-AF65-F5344CB8AC3E}">
        <p14:creationId xmlns:p14="http://schemas.microsoft.com/office/powerpoint/2010/main" val="3264579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azon was the first company  to move in cloud platforms</a:t>
            </a:r>
          </a:p>
        </p:txBody>
      </p:sp>
      <p:sp>
        <p:nvSpPr>
          <p:cNvPr id="4" name="Slide Number Placeholder 3"/>
          <p:cNvSpPr>
            <a:spLocks noGrp="1"/>
          </p:cNvSpPr>
          <p:nvPr>
            <p:ph type="sldNum" sz="quarter" idx="10"/>
          </p:nvPr>
        </p:nvSpPr>
        <p:spPr/>
        <p:txBody>
          <a:bodyPr/>
          <a:lstStyle/>
          <a:p>
            <a:fld id="{E1E6101B-A11D-4C18-920C-0F59B31C7EF2}" type="slidenum">
              <a:rPr lang="en-US" smtClean="0"/>
              <a:t>13</a:t>
            </a:fld>
            <a:endParaRPr lang="en-US"/>
          </a:p>
        </p:txBody>
      </p:sp>
    </p:spTree>
    <p:extLst>
      <p:ext uri="{BB962C8B-B14F-4D97-AF65-F5344CB8AC3E}">
        <p14:creationId xmlns:p14="http://schemas.microsoft.com/office/powerpoint/2010/main" val="3260341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r>
              <a:rPr lang="en-US" b="1" dirty="0"/>
              <a:t>Microsoft : Office 365</a:t>
            </a:r>
          </a:p>
          <a:p>
            <a:r>
              <a:rPr lang="en-US" dirty="0"/>
              <a:t>Microsoft offers Dynamics CRM Online (CRM), Exchange Online(Email), SharePoint online(Collaboration), Office Web Apps(Productivity)</a:t>
            </a:r>
          </a:p>
          <a:p>
            <a:endParaRPr lang="en-US" dirty="0"/>
          </a:p>
          <a:p>
            <a:r>
              <a:rPr lang="en-US" b="1" dirty="0"/>
              <a:t>Google : Google Apps</a:t>
            </a:r>
          </a:p>
          <a:p>
            <a:r>
              <a:rPr lang="en-US" dirty="0"/>
              <a:t>Gmail(Email), Google Sites(Collaboration), Google Docs(Productivity)</a:t>
            </a:r>
          </a:p>
          <a:p>
            <a:endParaRPr lang="en-US" dirty="0"/>
          </a:p>
          <a:p>
            <a:r>
              <a:rPr lang="en-US" b="1" dirty="0"/>
              <a:t>SAP:  </a:t>
            </a:r>
            <a:r>
              <a:rPr lang="en-US" dirty="0"/>
              <a:t>Business By Design(ERP)</a:t>
            </a:r>
          </a:p>
          <a:p>
            <a:endParaRPr lang="en-US" dirty="0"/>
          </a:p>
          <a:p>
            <a:r>
              <a:rPr lang="en-US" b="1" dirty="0"/>
              <a:t>IBM:  </a:t>
            </a:r>
            <a:r>
              <a:rPr lang="en-US" dirty="0"/>
              <a:t>Lotus Live(Collaboration)</a:t>
            </a:r>
          </a:p>
          <a:p>
            <a:endParaRPr lang="en-US" dirty="0"/>
          </a:p>
          <a:p>
            <a:r>
              <a:rPr lang="en-US" b="1" dirty="0"/>
              <a:t>Oracle: </a:t>
            </a:r>
          </a:p>
          <a:p>
            <a:r>
              <a:rPr lang="en-US" dirty="0"/>
              <a:t>Fusion CRM (CRM)</a:t>
            </a:r>
          </a:p>
          <a:p>
            <a:endParaRPr lang="en-US" dirty="0"/>
          </a:p>
          <a:p>
            <a:r>
              <a:rPr lang="en-US" b="1" dirty="0"/>
              <a:t>NetSuite:  </a:t>
            </a:r>
            <a:r>
              <a:rPr lang="en-US" dirty="0"/>
              <a:t>CRM+ (CRM)</a:t>
            </a:r>
          </a:p>
          <a:p>
            <a:endParaRPr lang="en-US" dirty="0"/>
          </a:p>
          <a:p>
            <a:r>
              <a:rPr lang="en-US" b="1" dirty="0" err="1"/>
              <a:t>Zoho</a:t>
            </a:r>
            <a:r>
              <a:rPr lang="en-US" b="1" dirty="0"/>
              <a:t>:  </a:t>
            </a:r>
            <a:r>
              <a:rPr lang="en-US" dirty="0"/>
              <a:t>CRM, Mail(Email), Docs(Collaboration), Writer(Productivity)</a:t>
            </a:r>
          </a:p>
          <a:p>
            <a:endParaRPr lang="en-US" dirty="0"/>
          </a:p>
          <a:p>
            <a:r>
              <a:rPr lang="en-US" b="1" dirty="0"/>
              <a:t>Salesforce: </a:t>
            </a:r>
            <a:r>
              <a:rPr lang="en-US" dirty="0"/>
              <a:t>CRM (Salesforce  was</a:t>
            </a:r>
            <a:r>
              <a:rPr lang="en-US" b="1" dirty="0"/>
              <a:t> </a:t>
            </a:r>
            <a:r>
              <a:rPr lang="en-US" dirty="0"/>
              <a:t>first vendor to experience real success with SaaS)</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4</a:t>
            </a:fld>
            <a:endParaRPr lang="en-US"/>
          </a:p>
        </p:txBody>
      </p:sp>
    </p:spTree>
    <p:extLst>
      <p:ext uri="{BB962C8B-B14F-4D97-AF65-F5344CB8AC3E}">
        <p14:creationId xmlns:p14="http://schemas.microsoft.com/office/powerpoint/2010/main" val="2005128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r>
              <a:rPr lang="en-US" b="1" dirty="0"/>
              <a:t>Microsoft : Office 365</a:t>
            </a:r>
          </a:p>
          <a:p>
            <a:r>
              <a:rPr lang="en-US" dirty="0"/>
              <a:t>Microsoft offers Dynamics CRM Online (CRM), Exchange Online(Email), SharePoint online(Collaboration), Office Web Apps(Productivity)</a:t>
            </a:r>
          </a:p>
          <a:p>
            <a:endParaRPr lang="en-US" dirty="0"/>
          </a:p>
          <a:p>
            <a:r>
              <a:rPr lang="en-US" b="1" dirty="0"/>
              <a:t>Google : Google Apps</a:t>
            </a:r>
          </a:p>
          <a:p>
            <a:r>
              <a:rPr lang="en-US" dirty="0"/>
              <a:t>Gmail(Email), Google Sites(Collaboration), Google Docs(Productivity)</a:t>
            </a:r>
          </a:p>
          <a:p>
            <a:endParaRPr lang="en-US" dirty="0"/>
          </a:p>
          <a:p>
            <a:r>
              <a:rPr lang="en-US" b="1" dirty="0"/>
              <a:t>SAP:  </a:t>
            </a:r>
            <a:r>
              <a:rPr lang="en-US" dirty="0"/>
              <a:t>Business By Design(ERP)</a:t>
            </a:r>
          </a:p>
          <a:p>
            <a:endParaRPr lang="en-US" dirty="0"/>
          </a:p>
          <a:p>
            <a:r>
              <a:rPr lang="en-US" b="1" dirty="0"/>
              <a:t>IBM:  </a:t>
            </a:r>
            <a:r>
              <a:rPr lang="en-US" dirty="0"/>
              <a:t>Lotus Live(Collaboration)</a:t>
            </a:r>
          </a:p>
          <a:p>
            <a:endParaRPr lang="en-US" dirty="0"/>
          </a:p>
          <a:p>
            <a:r>
              <a:rPr lang="en-US" b="1" dirty="0"/>
              <a:t>Oracle: </a:t>
            </a:r>
          </a:p>
          <a:p>
            <a:r>
              <a:rPr lang="en-US" dirty="0"/>
              <a:t>Fusion CRM (CRM)</a:t>
            </a:r>
          </a:p>
          <a:p>
            <a:endParaRPr lang="en-US" dirty="0"/>
          </a:p>
          <a:p>
            <a:r>
              <a:rPr lang="en-US" b="1" dirty="0"/>
              <a:t>NetSuite:  </a:t>
            </a:r>
            <a:r>
              <a:rPr lang="en-US" dirty="0"/>
              <a:t>CRM+ (CRM)</a:t>
            </a:r>
          </a:p>
          <a:p>
            <a:endParaRPr lang="en-US" dirty="0"/>
          </a:p>
          <a:p>
            <a:r>
              <a:rPr lang="en-US" b="1" dirty="0" err="1"/>
              <a:t>Zoho</a:t>
            </a:r>
            <a:r>
              <a:rPr lang="en-US" b="1" dirty="0"/>
              <a:t>:  </a:t>
            </a:r>
            <a:r>
              <a:rPr lang="en-US" dirty="0"/>
              <a:t>CRM, Mail(Email), Docs(Collaboration), Writer(Productivity)</a:t>
            </a:r>
          </a:p>
          <a:p>
            <a:endParaRPr lang="en-US" dirty="0"/>
          </a:p>
          <a:p>
            <a:r>
              <a:rPr lang="en-US" b="1" dirty="0"/>
              <a:t>Salesforce: </a:t>
            </a:r>
            <a:r>
              <a:rPr lang="en-US" dirty="0"/>
              <a:t>CRM (Salesforce  was</a:t>
            </a:r>
            <a:r>
              <a:rPr lang="en-US" b="1" dirty="0"/>
              <a:t> </a:t>
            </a:r>
            <a:r>
              <a:rPr lang="en-US" dirty="0"/>
              <a:t>first vendor to experience real success with SaaS)</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5</a:t>
            </a:fld>
            <a:endParaRPr lang="en-US"/>
          </a:p>
        </p:txBody>
      </p:sp>
    </p:spTree>
    <p:extLst>
      <p:ext uri="{BB962C8B-B14F-4D97-AF65-F5344CB8AC3E}">
        <p14:creationId xmlns:p14="http://schemas.microsoft.com/office/powerpoint/2010/main" val="1763585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r>
              <a:rPr lang="en-US" b="1" dirty="0"/>
              <a:t>Microsoft : Office 365</a:t>
            </a:r>
          </a:p>
          <a:p>
            <a:r>
              <a:rPr lang="en-US" dirty="0"/>
              <a:t>Microsoft offers Dynamics CRM Online (CRM), Exchange Online(Email), SharePoint online(Collaboration), Office Web Apps(Productivity)</a:t>
            </a:r>
          </a:p>
          <a:p>
            <a:endParaRPr lang="en-US" dirty="0"/>
          </a:p>
          <a:p>
            <a:r>
              <a:rPr lang="en-US" b="1" dirty="0"/>
              <a:t>Google : Google Apps</a:t>
            </a:r>
          </a:p>
          <a:p>
            <a:r>
              <a:rPr lang="en-US" dirty="0"/>
              <a:t>Gmail(Email), Google Sites(Collaboration), Google Docs(Productivity)</a:t>
            </a:r>
          </a:p>
          <a:p>
            <a:endParaRPr lang="en-US" dirty="0"/>
          </a:p>
          <a:p>
            <a:r>
              <a:rPr lang="en-US" b="1" dirty="0"/>
              <a:t>SAP:  </a:t>
            </a:r>
            <a:r>
              <a:rPr lang="en-US" dirty="0"/>
              <a:t>Business By Design(ERP)</a:t>
            </a:r>
          </a:p>
          <a:p>
            <a:endParaRPr lang="en-US" dirty="0"/>
          </a:p>
          <a:p>
            <a:r>
              <a:rPr lang="en-US" b="1" dirty="0"/>
              <a:t>IBM:  </a:t>
            </a:r>
            <a:r>
              <a:rPr lang="en-US" dirty="0"/>
              <a:t>Lotus Live(Collaboration)</a:t>
            </a:r>
          </a:p>
          <a:p>
            <a:endParaRPr lang="en-US" dirty="0"/>
          </a:p>
          <a:p>
            <a:r>
              <a:rPr lang="en-US" b="1" dirty="0"/>
              <a:t>Oracle: </a:t>
            </a:r>
          </a:p>
          <a:p>
            <a:r>
              <a:rPr lang="en-US" dirty="0"/>
              <a:t>Fusion CRM (CRM)</a:t>
            </a:r>
          </a:p>
          <a:p>
            <a:endParaRPr lang="en-US" dirty="0"/>
          </a:p>
          <a:p>
            <a:r>
              <a:rPr lang="en-US" b="1" dirty="0"/>
              <a:t>NetSuite:  </a:t>
            </a:r>
            <a:r>
              <a:rPr lang="en-US" dirty="0"/>
              <a:t>CRM+ (CRM)</a:t>
            </a:r>
          </a:p>
          <a:p>
            <a:endParaRPr lang="en-US" dirty="0"/>
          </a:p>
          <a:p>
            <a:r>
              <a:rPr lang="en-US" b="1" dirty="0" err="1"/>
              <a:t>Zoho</a:t>
            </a:r>
            <a:r>
              <a:rPr lang="en-US" b="1" dirty="0"/>
              <a:t>:  </a:t>
            </a:r>
            <a:r>
              <a:rPr lang="en-US" dirty="0"/>
              <a:t>CRM, Mail(Email), Docs(Collaboration), Writer(Productivity)</a:t>
            </a:r>
          </a:p>
          <a:p>
            <a:endParaRPr lang="en-US" dirty="0"/>
          </a:p>
          <a:p>
            <a:r>
              <a:rPr lang="en-US" b="1" dirty="0"/>
              <a:t>Salesforce: </a:t>
            </a:r>
            <a:r>
              <a:rPr lang="en-US" dirty="0"/>
              <a:t>CRM (Salesforce  was</a:t>
            </a:r>
            <a:r>
              <a:rPr lang="en-US" b="1" dirty="0"/>
              <a:t> </a:t>
            </a:r>
            <a:r>
              <a:rPr lang="en-US" dirty="0"/>
              <a:t>first vendor to experience real success with SaaS)</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6</a:t>
            </a:fld>
            <a:endParaRPr lang="en-US"/>
          </a:p>
        </p:txBody>
      </p:sp>
    </p:spTree>
    <p:extLst>
      <p:ext uri="{BB962C8B-B14F-4D97-AF65-F5344CB8AC3E}">
        <p14:creationId xmlns:p14="http://schemas.microsoft.com/office/powerpoint/2010/main" val="3041450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ingle-Tenant Application </a:t>
            </a:r>
          </a:p>
          <a:p>
            <a:pPr algn="just"/>
            <a:r>
              <a:rPr lang="en-US" dirty="0"/>
              <a:t>Multiple users or Multiple customer organizations, are assigned with their own copy of the application. It requires one instance for each customer, there's no cost advantage</a:t>
            </a:r>
          </a:p>
          <a:p>
            <a:endParaRPr lang="en-US" dirty="0"/>
          </a:p>
          <a:p>
            <a:r>
              <a:rPr lang="en-US" b="1" dirty="0"/>
              <a:t>Multi-Tenant Application </a:t>
            </a:r>
          </a:p>
          <a:p>
            <a:pPr algn="just"/>
            <a:r>
              <a:rPr lang="en-US" dirty="0"/>
              <a:t>Multiple users or Multiple customer organizations, shares a single copy of the application with their data. It is easy to update, to maintain, to work with, and thus provides cost saving to customers</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7</a:t>
            </a:fld>
            <a:endParaRPr lang="en-US"/>
          </a:p>
        </p:txBody>
      </p:sp>
    </p:spTree>
    <p:extLst>
      <p:ext uri="{BB962C8B-B14F-4D97-AF65-F5344CB8AC3E}">
        <p14:creationId xmlns:p14="http://schemas.microsoft.com/office/powerpoint/2010/main" val="24190913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aaS Benefits:</a:t>
            </a:r>
          </a:p>
          <a:p>
            <a:pPr marL="171450" indent="-171450" algn="just">
              <a:lnSpc>
                <a:spcPct val="150000"/>
              </a:lnSpc>
              <a:buFont typeface="Arial" panose="020B0604020202020204" pitchFamily="34" charset="0"/>
              <a:buChar char="•"/>
            </a:pPr>
            <a:r>
              <a:rPr lang="en-US" dirty="0"/>
              <a:t>Faster deployment because no local installation required</a:t>
            </a:r>
          </a:p>
          <a:p>
            <a:pPr marL="171450" indent="-171450" algn="just">
              <a:lnSpc>
                <a:spcPct val="150000"/>
              </a:lnSpc>
              <a:buFont typeface="Arial" panose="020B0604020202020204" pitchFamily="34" charset="0"/>
              <a:buChar char="•"/>
            </a:pPr>
            <a:r>
              <a:rPr lang="en-US" dirty="0"/>
              <a:t>Usage based pricing i.e. letting us to pay only for what we use</a:t>
            </a:r>
          </a:p>
          <a:p>
            <a:pPr marL="171450" indent="-171450" algn="just">
              <a:lnSpc>
                <a:spcPct val="150000"/>
              </a:lnSpc>
              <a:buFont typeface="Arial" panose="020B0604020202020204" pitchFamily="34" charset="0"/>
              <a:buChar char="•"/>
            </a:pPr>
            <a:r>
              <a:rPr lang="en-US" dirty="0"/>
              <a:t>Less financial risk by lowering up-front cost, in-fact we have free trail option so that we can try it before we buy</a:t>
            </a:r>
          </a:p>
          <a:p>
            <a:pPr marL="171450" indent="-171450" algn="just">
              <a:lnSpc>
                <a:spcPct val="150000"/>
              </a:lnSpc>
              <a:buFont typeface="Arial" panose="020B0604020202020204" pitchFamily="34" charset="0"/>
              <a:buChar char="•"/>
            </a:pPr>
            <a:r>
              <a:rPr lang="en-US" dirty="0"/>
              <a:t>Easier upgrade, no need to worry about updates application will be up to date</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8</a:t>
            </a:fld>
            <a:endParaRPr lang="en-US"/>
          </a:p>
        </p:txBody>
      </p:sp>
    </p:spTree>
    <p:extLst>
      <p:ext uri="{BB962C8B-B14F-4D97-AF65-F5344CB8AC3E}">
        <p14:creationId xmlns:p14="http://schemas.microsoft.com/office/powerpoint/2010/main" val="658416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aaS Limitations:</a:t>
            </a:r>
          </a:p>
          <a:p>
            <a:pPr marL="171450" indent="-171450" algn="just">
              <a:lnSpc>
                <a:spcPct val="150000"/>
              </a:lnSpc>
              <a:buFont typeface="Arial" panose="020B0604020202020204" pitchFamily="34" charset="0"/>
              <a:buChar char="•"/>
            </a:pPr>
            <a:r>
              <a:rPr lang="en-US" dirty="0"/>
              <a:t>Requires trusted SaaS Provider  for availability and data security</a:t>
            </a:r>
          </a:p>
          <a:p>
            <a:pPr marL="171450" indent="-171450" algn="just">
              <a:lnSpc>
                <a:spcPct val="150000"/>
              </a:lnSpc>
              <a:buFont typeface="Arial" panose="020B0604020202020204" pitchFamily="34" charset="0"/>
              <a:buChar char="•"/>
            </a:pPr>
            <a:r>
              <a:rPr lang="en-US" dirty="0"/>
              <a:t>Legal / regulatory concerns can arise due to the data getting stored outside the customer premises.</a:t>
            </a:r>
          </a:p>
          <a:p>
            <a:pPr marL="171450" indent="-171450" algn="just">
              <a:lnSpc>
                <a:spcPct val="150000"/>
              </a:lnSpc>
              <a:buFont typeface="Arial" panose="020B0604020202020204" pitchFamily="34" charset="0"/>
              <a:buChar char="•"/>
            </a:pPr>
            <a:r>
              <a:rPr lang="en-US" dirty="0"/>
              <a:t>App Customization is limited when using a multi-tenant application.</a:t>
            </a:r>
          </a:p>
          <a:p>
            <a:pPr marL="171450" indent="-171450" algn="just">
              <a:lnSpc>
                <a:spcPct val="150000"/>
              </a:lnSpc>
              <a:buFont typeface="Arial" panose="020B0604020202020204" pitchFamily="34" charset="0"/>
              <a:buChar char="•"/>
            </a:pPr>
            <a:r>
              <a:rPr lang="en-US" dirty="0"/>
              <a:t>Harder to integrate with on-premises applications</a:t>
            </a:r>
          </a:p>
          <a:p>
            <a:pPr marL="171450" indent="-171450" algn="just">
              <a:lnSpc>
                <a:spcPct val="150000"/>
              </a:lnSpc>
              <a:buFont typeface="Arial" panose="020B0604020202020204" pitchFamily="34" charset="0"/>
              <a:buChar char="•"/>
            </a:pPr>
            <a:r>
              <a:rPr lang="en-US" dirty="0"/>
              <a:t>Lower performance can arise if customer has low band internet connectivity</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9</a:t>
            </a:fld>
            <a:endParaRPr lang="en-US"/>
          </a:p>
        </p:txBody>
      </p:sp>
    </p:spTree>
    <p:extLst>
      <p:ext uri="{BB962C8B-B14F-4D97-AF65-F5344CB8AC3E}">
        <p14:creationId xmlns:p14="http://schemas.microsoft.com/office/powerpoint/2010/main" val="4009417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0</a:t>
            </a:fld>
            <a:endParaRPr lang="en-US"/>
          </a:p>
        </p:txBody>
      </p:sp>
    </p:spTree>
    <p:extLst>
      <p:ext uri="{BB962C8B-B14F-4D97-AF65-F5344CB8AC3E}">
        <p14:creationId xmlns:p14="http://schemas.microsoft.com/office/powerpoint/2010/main" val="2776734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1</a:t>
            </a:fld>
            <a:endParaRPr lang="en-US"/>
          </a:p>
        </p:txBody>
      </p:sp>
    </p:spTree>
    <p:extLst>
      <p:ext uri="{BB962C8B-B14F-4D97-AF65-F5344CB8AC3E}">
        <p14:creationId xmlns:p14="http://schemas.microsoft.com/office/powerpoint/2010/main" val="2096783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pPr marL="228600" indent="-228600">
              <a:buFont typeface="+mj-lt"/>
              <a:buAutoNum type="arabicPeriod"/>
            </a:pPr>
            <a:endParaRPr lang="en-US" dirty="0"/>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2</a:t>
            </a:fld>
            <a:endParaRPr lang="en-US"/>
          </a:p>
        </p:txBody>
      </p:sp>
      <p:graphicFrame>
        <p:nvGraphicFramePr>
          <p:cNvPr id="5" name="Diagram 4">
            <a:extLst>
              <a:ext uri="{FF2B5EF4-FFF2-40B4-BE49-F238E27FC236}">
                <a16:creationId xmlns:a16="http://schemas.microsoft.com/office/drawing/2014/main" id="{27CBD7D7-611E-4AC3-A48F-79CC77D1907A}"/>
              </a:ext>
            </a:extLst>
          </p:cNvPr>
          <p:cNvGraphicFramePr/>
          <p:nvPr>
            <p:extLst>
              <p:ext uri="{D42A27DB-BD31-4B8C-83A1-F6EECF244321}">
                <p14:modId xmlns:p14="http://schemas.microsoft.com/office/powerpoint/2010/main" val="726945616"/>
              </p:ext>
            </p:extLst>
          </p:nvPr>
        </p:nvGraphicFramePr>
        <p:xfrm>
          <a:off x="685800" y="4572000"/>
          <a:ext cx="5543551" cy="2867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634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2</a:t>
            </a:fld>
            <a:endParaRPr lang="en-US"/>
          </a:p>
        </p:txBody>
      </p:sp>
    </p:spTree>
    <p:extLst>
      <p:ext uri="{BB962C8B-B14F-4D97-AF65-F5344CB8AC3E}">
        <p14:creationId xmlns:p14="http://schemas.microsoft.com/office/powerpoint/2010/main" val="4066734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veloper needs to do the following in IaaS:</a:t>
            </a:r>
          </a:p>
          <a:p>
            <a:endParaRPr lang="en-US" dirty="0"/>
          </a:p>
          <a:p>
            <a:pPr marL="228600" indent="-228600">
              <a:lnSpc>
                <a:spcPct val="150000"/>
              </a:lnSpc>
              <a:buFont typeface="+mj-lt"/>
              <a:buAutoNum type="arabicPeriod"/>
            </a:pPr>
            <a:r>
              <a:rPr lang="en-US" dirty="0"/>
              <a:t>Choose an image, then create VM for DBMS and configure DBMS</a:t>
            </a:r>
          </a:p>
          <a:p>
            <a:pPr marL="228600" indent="-228600">
              <a:lnSpc>
                <a:spcPct val="150000"/>
              </a:lnSpc>
              <a:buFont typeface="+mj-lt"/>
              <a:buAutoNum type="arabicPeriod"/>
            </a:pPr>
            <a:r>
              <a:rPr lang="en-US" dirty="0"/>
              <a:t>Choose an image, then create and configure VM(s) for application</a:t>
            </a:r>
          </a:p>
          <a:p>
            <a:pPr marL="228600" indent="-228600">
              <a:lnSpc>
                <a:spcPct val="150000"/>
              </a:lnSpc>
              <a:buFont typeface="+mj-lt"/>
              <a:buAutoNum type="arabicPeriod"/>
            </a:pPr>
            <a:r>
              <a:rPr lang="en-US" dirty="0"/>
              <a:t>Choose database, then create tables and add Data.</a:t>
            </a:r>
          </a:p>
          <a:p>
            <a:pPr marL="228600" indent="-228600">
              <a:lnSpc>
                <a:spcPct val="150000"/>
              </a:lnSpc>
              <a:buFont typeface="+mj-lt"/>
              <a:buAutoNum type="arabicPeriod"/>
            </a:pPr>
            <a:r>
              <a:rPr lang="en-US" dirty="0"/>
              <a:t>Install application on the VM created for application</a:t>
            </a:r>
          </a:p>
          <a:p>
            <a:pPr marL="228600" indent="-228600">
              <a:lnSpc>
                <a:spcPct val="150000"/>
              </a:lnSpc>
              <a:buFont typeface="+mj-lt"/>
              <a:buAutoNum type="arabicPeriod"/>
            </a:pPr>
            <a:r>
              <a:rPr lang="en-US" dirty="0"/>
              <a:t>Configure the load Balancer</a:t>
            </a:r>
          </a:p>
          <a:p>
            <a:pPr marL="228600" indent="-228600">
              <a:lnSpc>
                <a:spcPct val="150000"/>
              </a:lnSpc>
              <a:buFont typeface="+mj-lt"/>
              <a:buAutoNum type="arabicPeriod"/>
            </a:pPr>
            <a:r>
              <a:rPr lang="en-US" dirty="0"/>
              <a:t>Manage VMs and DBMS (developers need to administer this environment)</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3</a:t>
            </a:fld>
            <a:endParaRPr lang="en-US"/>
          </a:p>
        </p:txBody>
      </p:sp>
    </p:spTree>
    <p:extLst>
      <p:ext uri="{BB962C8B-B14F-4D97-AF65-F5344CB8AC3E}">
        <p14:creationId xmlns:p14="http://schemas.microsoft.com/office/powerpoint/2010/main" val="2728086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veloper needs to do the following in PaaS:</a:t>
            </a:r>
          </a:p>
          <a:p>
            <a:endParaRPr lang="en-US" dirty="0"/>
          </a:p>
          <a:p>
            <a:pPr marL="228600" indent="-228600">
              <a:lnSpc>
                <a:spcPct val="150000"/>
              </a:lnSpc>
              <a:buFont typeface="+mj-lt"/>
              <a:buAutoNum type="arabicPeriod"/>
            </a:pPr>
            <a:r>
              <a:rPr lang="en-US" dirty="0"/>
              <a:t>Create a database, then tables and add data</a:t>
            </a:r>
          </a:p>
          <a:p>
            <a:pPr marL="228600" indent="-228600">
              <a:lnSpc>
                <a:spcPct val="150000"/>
              </a:lnSpc>
              <a:buFont typeface="+mj-lt"/>
              <a:buAutoNum type="arabicPeriod"/>
            </a:pPr>
            <a:r>
              <a:rPr lang="en-US" dirty="0"/>
              <a:t>Deploy application on VM created for application and run</a:t>
            </a:r>
          </a:p>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4</a:t>
            </a:fld>
            <a:endParaRPr lang="en-US"/>
          </a:p>
        </p:txBody>
      </p:sp>
    </p:spTree>
    <p:extLst>
      <p:ext uri="{BB962C8B-B14F-4D97-AF65-F5344CB8AC3E}">
        <p14:creationId xmlns:p14="http://schemas.microsoft.com/office/powerpoint/2010/main" val="23552810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aaS Benefits:</a:t>
            </a:r>
          </a:p>
          <a:p>
            <a:pPr marL="171450" indent="-171450" algn="just">
              <a:lnSpc>
                <a:spcPct val="150000"/>
              </a:lnSpc>
              <a:buFont typeface="Arial" panose="020B0604020202020204" pitchFamily="34" charset="0"/>
              <a:buChar char="•"/>
            </a:pPr>
            <a:r>
              <a:rPr lang="en-US" dirty="0"/>
              <a:t>Customers have full control over their VM and everything inside it; customers can choose to automate the provisioning or build their own VM</a:t>
            </a:r>
          </a:p>
          <a:p>
            <a:pPr marL="171450" indent="-171450" algn="just">
              <a:lnSpc>
                <a:spcPct val="150000"/>
              </a:lnSpc>
              <a:buFont typeface="Arial" panose="020B0604020202020204" pitchFamily="34" charset="0"/>
              <a:buChar char="•"/>
            </a:pPr>
            <a:r>
              <a:rPr lang="en-US" dirty="0"/>
              <a:t>Customers can run anything they want inside their VM also get full control of processing inside VM</a:t>
            </a:r>
          </a:p>
          <a:p>
            <a:pPr marL="171450" indent="-171450" algn="just">
              <a:lnSpc>
                <a:spcPct val="150000"/>
              </a:lnSpc>
              <a:buFont typeface="Arial" panose="020B0604020202020204" pitchFamily="34" charset="0"/>
              <a:buChar char="•"/>
            </a:pPr>
            <a:r>
              <a:rPr lang="en-US" dirty="0"/>
              <a:t>Customers can pay what they actually utilize, they can shut down the resources, if it is not in use and save money.</a:t>
            </a:r>
          </a:p>
          <a:p>
            <a:pPr marL="171450" indent="-171450" algn="just">
              <a:lnSpc>
                <a:spcPct val="150000"/>
              </a:lnSpc>
              <a:buFont typeface="Arial" panose="020B0604020202020204" pitchFamily="34" charset="0"/>
              <a:buChar char="•"/>
            </a:pPr>
            <a:r>
              <a:rPr lang="en-US" dirty="0"/>
              <a:t>Customers can run and control their own virtual infrastructure without the overheads of cost and maintenance from running their own hardware.</a:t>
            </a:r>
          </a:p>
        </p:txBody>
      </p:sp>
      <p:sp>
        <p:nvSpPr>
          <p:cNvPr id="4" name="Slide Number Placeholder 3"/>
          <p:cNvSpPr>
            <a:spLocks noGrp="1"/>
          </p:cNvSpPr>
          <p:nvPr>
            <p:ph type="sldNum" sz="quarter" idx="10"/>
          </p:nvPr>
        </p:nvSpPr>
        <p:spPr/>
        <p:txBody>
          <a:bodyPr/>
          <a:lstStyle/>
          <a:p>
            <a:fld id="{E1E6101B-A11D-4C18-920C-0F59B31C7EF2}" type="slidenum">
              <a:rPr lang="en-US" smtClean="0"/>
              <a:t>25</a:t>
            </a:fld>
            <a:endParaRPr lang="en-US"/>
          </a:p>
        </p:txBody>
      </p:sp>
    </p:spTree>
    <p:extLst>
      <p:ext uri="{BB962C8B-B14F-4D97-AF65-F5344CB8AC3E}">
        <p14:creationId xmlns:p14="http://schemas.microsoft.com/office/powerpoint/2010/main" val="38140669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aaS limitations:</a:t>
            </a:r>
          </a:p>
          <a:p>
            <a:pPr marL="171450" indent="-171450" algn="just">
              <a:lnSpc>
                <a:spcPct val="150000"/>
              </a:lnSpc>
              <a:buFont typeface="Arial" panose="020B0604020202020204" pitchFamily="34" charset="0"/>
              <a:buChar char="•"/>
            </a:pPr>
            <a:r>
              <a:rPr lang="en-US" dirty="0"/>
              <a:t>Most expensive, since the customer is now leasing the resource, provider can charge for every Cycle, bit of RAM or disk space used.</a:t>
            </a:r>
          </a:p>
          <a:p>
            <a:pPr marL="171450" indent="-171450" algn="just">
              <a:lnSpc>
                <a:spcPct val="150000"/>
              </a:lnSpc>
              <a:buFont typeface="Arial" panose="020B0604020202020204" pitchFamily="34" charset="0"/>
              <a:buChar char="•"/>
            </a:pPr>
            <a:r>
              <a:rPr lang="en-US" dirty="0"/>
              <a:t>Customer is responsible for backups and patch updates.</a:t>
            </a:r>
          </a:p>
          <a:p>
            <a:pPr marL="171450" indent="-171450" algn="just">
              <a:lnSpc>
                <a:spcPct val="150000"/>
              </a:lnSpc>
              <a:buFont typeface="Arial" panose="020B0604020202020204" pitchFamily="34" charset="0"/>
              <a:buChar char="•"/>
            </a:pPr>
            <a:r>
              <a:rPr lang="en-US" dirty="0"/>
              <a:t>The performance of the network depends on the speed of the internet connectivity</a:t>
            </a:r>
          </a:p>
        </p:txBody>
      </p:sp>
      <p:sp>
        <p:nvSpPr>
          <p:cNvPr id="4" name="Slide Number Placeholder 3"/>
          <p:cNvSpPr>
            <a:spLocks noGrp="1"/>
          </p:cNvSpPr>
          <p:nvPr>
            <p:ph type="sldNum" sz="quarter" idx="10"/>
          </p:nvPr>
        </p:nvSpPr>
        <p:spPr/>
        <p:txBody>
          <a:bodyPr/>
          <a:lstStyle/>
          <a:p>
            <a:fld id="{E1E6101B-A11D-4C18-920C-0F59B31C7EF2}" type="slidenum">
              <a:rPr lang="en-US" smtClean="0"/>
              <a:t>26</a:t>
            </a:fld>
            <a:endParaRPr lang="en-US"/>
          </a:p>
        </p:txBody>
      </p:sp>
    </p:spTree>
    <p:extLst>
      <p:ext uri="{BB962C8B-B14F-4D97-AF65-F5344CB8AC3E}">
        <p14:creationId xmlns:p14="http://schemas.microsoft.com/office/powerpoint/2010/main" val="3526725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aaS Benefits</a:t>
            </a:r>
            <a:r>
              <a:rPr lang="en-US" dirty="0"/>
              <a:t>:</a:t>
            </a:r>
          </a:p>
          <a:p>
            <a:pPr marL="171450" indent="-171450" algn="just">
              <a:lnSpc>
                <a:spcPct val="150000"/>
              </a:lnSpc>
              <a:buFont typeface="Arial" panose="020B0604020202020204" pitchFamily="34" charset="0"/>
              <a:buChar char="•"/>
            </a:pPr>
            <a:r>
              <a:rPr lang="en-US" dirty="0"/>
              <a:t>Faster deployment because no local installation required</a:t>
            </a:r>
          </a:p>
          <a:p>
            <a:pPr marL="171450" indent="-171450" algn="just">
              <a:lnSpc>
                <a:spcPct val="150000"/>
              </a:lnSpc>
              <a:buFont typeface="Arial" panose="020B0604020202020204" pitchFamily="34" charset="0"/>
              <a:buChar char="•"/>
            </a:pPr>
            <a:r>
              <a:rPr lang="en-US" dirty="0"/>
              <a:t>Cost effective in comparison to IaaS, because we are essentially leasing the software platform not a resource.</a:t>
            </a:r>
          </a:p>
          <a:p>
            <a:pPr marL="171450" indent="-171450" algn="just">
              <a:lnSpc>
                <a:spcPct val="150000"/>
              </a:lnSpc>
              <a:buFont typeface="Arial" panose="020B0604020202020204" pitchFamily="34" charset="0"/>
              <a:buChar char="•"/>
            </a:pPr>
            <a:r>
              <a:rPr lang="en-US" dirty="0"/>
              <a:t>Developers need to do less work so than applications can be created quickly</a:t>
            </a:r>
          </a:p>
          <a:p>
            <a:pPr marL="171450" indent="-171450" algn="just">
              <a:lnSpc>
                <a:spcPct val="150000"/>
              </a:lnSpc>
              <a:buFont typeface="Arial" panose="020B0604020202020204" pitchFamily="34" charset="0"/>
              <a:buChar char="•"/>
            </a:pPr>
            <a:r>
              <a:rPr lang="en-US" dirty="0"/>
              <a:t>No need to administer  the application, organizations can spend less on supporting their applications </a:t>
            </a:r>
          </a:p>
        </p:txBody>
      </p:sp>
      <p:sp>
        <p:nvSpPr>
          <p:cNvPr id="4" name="Slide Number Placeholder 3"/>
          <p:cNvSpPr>
            <a:spLocks noGrp="1"/>
          </p:cNvSpPr>
          <p:nvPr>
            <p:ph type="sldNum" sz="quarter" idx="10"/>
          </p:nvPr>
        </p:nvSpPr>
        <p:spPr/>
        <p:txBody>
          <a:bodyPr/>
          <a:lstStyle/>
          <a:p>
            <a:fld id="{E1E6101B-A11D-4C18-920C-0F59B31C7EF2}" type="slidenum">
              <a:rPr lang="en-US" smtClean="0"/>
              <a:t>27</a:t>
            </a:fld>
            <a:endParaRPr lang="en-US"/>
          </a:p>
        </p:txBody>
      </p:sp>
    </p:spTree>
    <p:extLst>
      <p:ext uri="{BB962C8B-B14F-4D97-AF65-F5344CB8AC3E}">
        <p14:creationId xmlns:p14="http://schemas.microsoft.com/office/powerpoint/2010/main" val="2548549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aaS Limitations:</a:t>
            </a:r>
          </a:p>
          <a:p>
            <a:pPr marL="171450" indent="-171450" algn="just">
              <a:lnSpc>
                <a:spcPct val="150000"/>
              </a:lnSpc>
              <a:buFont typeface="Arial" panose="020B0604020202020204" pitchFamily="34" charset="0"/>
              <a:buChar char="•"/>
            </a:pPr>
            <a:r>
              <a:rPr lang="en-US" dirty="0"/>
              <a:t>PaaS is less familiar to developers, they need to learn the PaaS platform</a:t>
            </a:r>
          </a:p>
          <a:p>
            <a:pPr marL="171450" indent="-171450" algn="just">
              <a:lnSpc>
                <a:spcPct val="150000"/>
              </a:lnSpc>
              <a:buFont typeface="Arial" panose="020B0604020202020204" pitchFamily="34" charset="0"/>
              <a:buChar char="•"/>
            </a:pPr>
            <a:r>
              <a:rPr lang="en-US" dirty="0"/>
              <a:t>PaaS gives developers less control, they must work with the constraints of PaaS technology.</a:t>
            </a:r>
          </a:p>
          <a:p>
            <a:pPr marL="171450" indent="-171450" algn="just">
              <a:lnSpc>
                <a:spcPct val="150000"/>
              </a:lnSpc>
              <a:buFont typeface="Arial" panose="020B0604020202020204" pitchFamily="34" charset="0"/>
              <a:buChar char="•"/>
            </a:pPr>
            <a:r>
              <a:rPr lang="en-US" dirty="0"/>
              <a:t>PaaS platforms can be quite different from one another and from the on-premises world, so that there is a chance of locking with vendor.</a:t>
            </a:r>
          </a:p>
        </p:txBody>
      </p:sp>
      <p:sp>
        <p:nvSpPr>
          <p:cNvPr id="4" name="Slide Number Placeholder 3"/>
          <p:cNvSpPr>
            <a:spLocks noGrp="1"/>
          </p:cNvSpPr>
          <p:nvPr>
            <p:ph type="sldNum" sz="quarter" idx="10"/>
          </p:nvPr>
        </p:nvSpPr>
        <p:spPr/>
        <p:txBody>
          <a:bodyPr/>
          <a:lstStyle/>
          <a:p>
            <a:fld id="{E1E6101B-A11D-4C18-920C-0F59B31C7EF2}" type="slidenum">
              <a:rPr lang="en-US" smtClean="0"/>
              <a:t>28</a:t>
            </a:fld>
            <a:endParaRPr lang="en-US"/>
          </a:p>
        </p:txBody>
      </p:sp>
    </p:spTree>
    <p:extLst>
      <p:ext uri="{BB962C8B-B14F-4D97-AF65-F5344CB8AC3E}">
        <p14:creationId xmlns:p14="http://schemas.microsoft.com/office/powerpoint/2010/main" val="2872796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42202"/>
          </a:xfrm>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9</a:t>
            </a:fld>
            <a:endParaRPr lang="en-US"/>
          </a:p>
        </p:txBody>
      </p:sp>
    </p:spTree>
    <p:extLst>
      <p:ext uri="{BB962C8B-B14F-4D97-AF65-F5344CB8AC3E}">
        <p14:creationId xmlns:p14="http://schemas.microsoft.com/office/powerpoint/2010/main" val="1719782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enefits of Private cloud</a:t>
            </a:r>
            <a:r>
              <a:rPr lang="en-US" dirty="0"/>
              <a:t>:</a:t>
            </a:r>
          </a:p>
          <a:p>
            <a:pPr marL="171450" indent="-171450" algn="just">
              <a:lnSpc>
                <a:spcPct val="150000"/>
              </a:lnSpc>
              <a:buFont typeface="Arial" panose="020B0604020202020204" pitchFamily="34" charset="0"/>
              <a:buChar char="•"/>
            </a:pPr>
            <a:r>
              <a:rPr lang="en-US" dirty="0"/>
              <a:t>Better controls for data, users and information assets.</a:t>
            </a:r>
          </a:p>
          <a:p>
            <a:pPr marL="171450" indent="-171450" algn="just">
              <a:lnSpc>
                <a:spcPct val="150000"/>
              </a:lnSpc>
              <a:buFont typeface="Arial" panose="020B0604020202020204" pitchFamily="34" charset="0"/>
              <a:buChar char="•"/>
            </a:pPr>
            <a:r>
              <a:rPr lang="en-US" dirty="0"/>
              <a:t>The cloud belongs to a single client. Hence, the infrastructure and systems can be configured to provide high levels of security.</a:t>
            </a:r>
          </a:p>
          <a:p>
            <a:pPr marL="171450" indent="-171450" algn="just">
              <a:lnSpc>
                <a:spcPct val="150000"/>
              </a:lnSpc>
              <a:buFont typeface="Arial" panose="020B0604020202020204" pitchFamily="34" charset="0"/>
              <a:buChar char="•"/>
            </a:pPr>
            <a:r>
              <a:rPr lang="en-US" dirty="0"/>
              <a:t>The hardware and other resources can be customized easily by the company.</a:t>
            </a:r>
          </a:p>
          <a:p>
            <a:pPr marL="171450" indent="-171450" algn="just">
              <a:lnSpc>
                <a:spcPct val="150000"/>
              </a:lnSpc>
              <a:buFont typeface="Arial" panose="020B0604020202020204" pitchFamily="34" charset="0"/>
              <a:buChar char="•"/>
            </a:pPr>
            <a:r>
              <a:rPr lang="en-US" dirty="0"/>
              <a:t>Compliance is achieved easily in private clouds.</a:t>
            </a:r>
          </a:p>
          <a:p>
            <a:pPr marL="171450" indent="-171450" algn="just">
              <a:lnSpc>
                <a:spcPct val="150000"/>
              </a:lnSpc>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0</a:t>
            </a:fld>
            <a:endParaRPr lang="en-US"/>
          </a:p>
        </p:txBody>
      </p:sp>
    </p:spTree>
    <p:extLst>
      <p:ext uri="{BB962C8B-B14F-4D97-AF65-F5344CB8AC3E}">
        <p14:creationId xmlns:p14="http://schemas.microsoft.com/office/powerpoint/2010/main" val="20813461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lnSpc>
                <a:spcPct val="150000"/>
              </a:lnSpc>
            </a:pPr>
            <a:r>
              <a:rPr lang="en-US" b="1" dirty="0"/>
              <a:t>Public cloud</a:t>
            </a:r>
          </a:p>
          <a:p>
            <a:pPr algn="just">
              <a:lnSpc>
                <a:spcPct val="150000"/>
              </a:lnSpc>
            </a:pPr>
            <a:r>
              <a:rPr lang="en-US" dirty="0"/>
              <a:t>Public clouds are owned and operated by a third-party cloud service provider, which delivers computing resources such as servers and storage over the Internet.</a:t>
            </a:r>
          </a:p>
          <a:p>
            <a:pPr>
              <a:lnSpc>
                <a:spcPct val="150000"/>
              </a:lnSpc>
            </a:pPr>
            <a:endParaRPr lang="en-US" dirty="0"/>
          </a:p>
          <a:p>
            <a:pPr>
              <a:lnSpc>
                <a:spcPct val="150000"/>
              </a:lnSpc>
            </a:pPr>
            <a:r>
              <a:rPr lang="en-US" b="1" dirty="0"/>
              <a:t>Private cloud</a:t>
            </a:r>
          </a:p>
          <a:p>
            <a:pPr algn="just">
              <a:lnSpc>
                <a:spcPct val="150000"/>
              </a:lnSpc>
            </a:pPr>
            <a:r>
              <a:rPr lang="en-US" dirty="0"/>
              <a:t>A private cloud refers to cloud computing resources used exclusively by a single business or organization. A private cloud can be physically located on the company’s on-site datacenter. Some companies also pay third-party service providers to host their private cloud</a:t>
            </a:r>
          </a:p>
          <a:p>
            <a:pPr>
              <a:lnSpc>
                <a:spcPct val="150000"/>
              </a:lnSpc>
            </a:pPr>
            <a:endParaRPr lang="en-US" dirty="0"/>
          </a:p>
          <a:p>
            <a:pPr>
              <a:lnSpc>
                <a:spcPct val="150000"/>
              </a:lnSpc>
            </a:pPr>
            <a:r>
              <a:rPr lang="en-US" b="1" dirty="0"/>
              <a:t>Hybrid cloud</a:t>
            </a:r>
          </a:p>
          <a:p>
            <a:pPr algn="just">
              <a:lnSpc>
                <a:spcPct val="150000"/>
              </a:lnSpc>
            </a:pPr>
            <a:r>
              <a:rPr lang="en-US" dirty="0"/>
              <a:t>Hybrid clouds combine public and private clouds, bound together by technology that allows data and applications to be shared between them. </a:t>
            </a:r>
          </a:p>
          <a:p>
            <a:pPr algn="just">
              <a:lnSpc>
                <a:spcPct val="150000"/>
              </a:lnSpc>
            </a:pPr>
            <a:r>
              <a:rPr lang="en-US" dirty="0"/>
              <a:t>Hybrid cloud gives businesses greater flexibility and more deployment options. </a:t>
            </a:r>
          </a:p>
          <a:p>
            <a:pPr algn="just">
              <a:lnSpc>
                <a:spcPct val="150000"/>
              </a:lnSpc>
            </a:pPr>
            <a:r>
              <a:rPr lang="en-US" dirty="0"/>
              <a:t>Microsoft is the leading cloud platform companies which has the strongest focus on hybrid cloud</a:t>
            </a:r>
          </a:p>
        </p:txBody>
      </p:sp>
      <p:sp>
        <p:nvSpPr>
          <p:cNvPr id="4" name="Slide Number Placeholder 3"/>
          <p:cNvSpPr>
            <a:spLocks noGrp="1"/>
          </p:cNvSpPr>
          <p:nvPr>
            <p:ph type="sldNum" sz="quarter" idx="10"/>
          </p:nvPr>
        </p:nvSpPr>
        <p:spPr/>
        <p:txBody>
          <a:bodyPr/>
          <a:lstStyle/>
          <a:p>
            <a:fld id="{E1E6101B-A11D-4C18-920C-0F59B31C7EF2}" type="slidenum">
              <a:rPr lang="en-US" smtClean="0"/>
              <a:t>31</a:t>
            </a:fld>
            <a:endParaRPr lang="en-US"/>
          </a:p>
        </p:txBody>
      </p:sp>
    </p:spTree>
    <p:extLst>
      <p:ext uri="{BB962C8B-B14F-4D97-AF65-F5344CB8AC3E}">
        <p14:creationId xmlns:p14="http://schemas.microsoft.com/office/powerpoint/2010/main" val="37869998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32</a:t>
            </a:fld>
            <a:endParaRPr lang="en-US"/>
          </a:p>
        </p:txBody>
      </p:sp>
    </p:spTree>
    <p:extLst>
      <p:ext uri="{BB962C8B-B14F-4D97-AF65-F5344CB8AC3E}">
        <p14:creationId xmlns:p14="http://schemas.microsoft.com/office/powerpoint/2010/main" val="2211452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5</a:t>
            </a:fld>
            <a:endParaRPr lang="en-US"/>
          </a:p>
        </p:txBody>
      </p:sp>
    </p:spTree>
    <p:extLst>
      <p:ext uri="{BB962C8B-B14F-4D97-AF65-F5344CB8AC3E}">
        <p14:creationId xmlns:p14="http://schemas.microsoft.com/office/powerpoint/2010/main" val="18772924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33</a:t>
            </a:fld>
            <a:endParaRPr lang="en-US"/>
          </a:p>
        </p:txBody>
      </p:sp>
    </p:spTree>
    <p:extLst>
      <p:ext uri="{BB962C8B-B14F-4D97-AF65-F5344CB8AC3E}">
        <p14:creationId xmlns:p14="http://schemas.microsoft.com/office/powerpoint/2010/main" val="35012802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34</a:t>
            </a:fld>
            <a:endParaRPr lang="en-US"/>
          </a:p>
        </p:txBody>
      </p:sp>
    </p:spTree>
    <p:extLst>
      <p:ext uri="{BB962C8B-B14F-4D97-AF65-F5344CB8AC3E}">
        <p14:creationId xmlns:p14="http://schemas.microsoft.com/office/powerpoint/2010/main" val="2957132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azon was the first company  to move in cloud platforms</a:t>
            </a:r>
          </a:p>
        </p:txBody>
      </p:sp>
      <p:sp>
        <p:nvSpPr>
          <p:cNvPr id="4" name="Slide Number Placeholder 3"/>
          <p:cNvSpPr>
            <a:spLocks noGrp="1"/>
          </p:cNvSpPr>
          <p:nvPr>
            <p:ph type="sldNum" sz="quarter" idx="10"/>
          </p:nvPr>
        </p:nvSpPr>
        <p:spPr/>
        <p:txBody>
          <a:bodyPr/>
          <a:lstStyle/>
          <a:p>
            <a:fld id="{E1E6101B-A11D-4C18-920C-0F59B31C7EF2}" type="slidenum">
              <a:rPr lang="en-US" smtClean="0"/>
              <a:t>7</a:t>
            </a:fld>
            <a:endParaRPr lang="en-US"/>
          </a:p>
        </p:txBody>
      </p:sp>
    </p:spTree>
    <p:extLst>
      <p:ext uri="{BB962C8B-B14F-4D97-AF65-F5344CB8AC3E}">
        <p14:creationId xmlns:p14="http://schemas.microsoft.com/office/powerpoint/2010/main" val="150232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a:t>
            </a:fld>
            <a:endParaRPr lang="en-US"/>
          </a:p>
        </p:txBody>
      </p:sp>
    </p:spTree>
    <p:extLst>
      <p:ext uri="{BB962C8B-B14F-4D97-AF65-F5344CB8AC3E}">
        <p14:creationId xmlns:p14="http://schemas.microsoft.com/office/powerpoint/2010/main" val="3406145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9</a:t>
            </a:fld>
            <a:endParaRPr lang="en-US"/>
          </a:p>
        </p:txBody>
      </p:sp>
    </p:spTree>
    <p:extLst>
      <p:ext uri="{BB962C8B-B14F-4D97-AF65-F5344CB8AC3E}">
        <p14:creationId xmlns:p14="http://schemas.microsoft.com/office/powerpoint/2010/main" val="3189145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of cloud computing:</a:t>
            </a:r>
          </a:p>
          <a:p>
            <a:pPr marL="171450" indent="-171450" algn="just">
              <a:lnSpc>
                <a:spcPct val="150000"/>
              </a:lnSpc>
              <a:buFont typeface="Arial" panose="020B0604020202020204" pitchFamily="34" charset="0"/>
              <a:buChar char="•"/>
            </a:pPr>
            <a:r>
              <a:rPr lang="en-US" b="1" dirty="0"/>
              <a:t>Cost</a:t>
            </a:r>
            <a:r>
              <a:rPr lang="en-US" dirty="0"/>
              <a:t> : Hugely reduced capital cost of buying hardware and software's</a:t>
            </a:r>
          </a:p>
          <a:p>
            <a:pPr marL="171450" indent="-171450" algn="just">
              <a:lnSpc>
                <a:spcPct val="150000"/>
              </a:lnSpc>
              <a:buFont typeface="Arial" panose="020B0604020202020204" pitchFamily="34" charset="0"/>
              <a:buChar char="•"/>
            </a:pPr>
            <a:r>
              <a:rPr lang="en-US" b="1" dirty="0"/>
              <a:t>Speed</a:t>
            </a:r>
            <a:r>
              <a:rPr lang="en-US" dirty="0"/>
              <a:t> :  Computing resources can be provisioned in minutes typically with in few minutes</a:t>
            </a:r>
          </a:p>
          <a:p>
            <a:pPr marL="171450" indent="-171450" algn="just">
              <a:lnSpc>
                <a:spcPct val="150000"/>
              </a:lnSpc>
              <a:buFont typeface="Arial" panose="020B0604020202020204" pitchFamily="34" charset="0"/>
              <a:buChar char="•"/>
            </a:pPr>
            <a:r>
              <a:rPr lang="en-US" b="1" dirty="0"/>
              <a:t>Scalability</a:t>
            </a:r>
            <a:r>
              <a:rPr lang="en-US" dirty="0"/>
              <a:t> :  Computing resources can be scaled up and down quickly according to the business requirements</a:t>
            </a:r>
          </a:p>
          <a:p>
            <a:pPr marL="171450" indent="-171450" algn="just">
              <a:lnSpc>
                <a:spcPct val="150000"/>
              </a:lnSpc>
              <a:buFont typeface="Arial" panose="020B0604020202020204" pitchFamily="34" charset="0"/>
              <a:buChar char="•"/>
            </a:pPr>
            <a:r>
              <a:rPr lang="en-US" b="1" dirty="0"/>
              <a:t>Productivity </a:t>
            </a:r>
            <a:r>
              <a:rPr lang="en-US" dirty="0"/>
              <a:t> :  Cloud Computing  takes out hardware setup, patching etc. so that IT team can focus on achieving business goals </a:t>
            </a:r>
          </a:p>
          <a:p>
            <a:pPr marL="171450" indent="-171450" algn="just">
              <a:lnSpc>
                <a:spcPct val="150000"/>
              </a:lnSpc>
              <a:buFont typeface="Arial" panose="020B0604020202020204" pitchFamily="34" charset="0"/>
              <a:buChar char="•"/>
            </a:pPr>
            <a:r>
              <a:rPr lang="en-US" b="1" dirty="0"/>
              <a:t>Reliability</a:t>
            </a:r>
            <a:r>
              <a:rPr lang="en-US" dirty="0"/>
              <a:t> :  Cloud computing makes data backup, data recovery and business continuity less expensive and faster recovery</a:t>
            </a:r>
          </a:p>
          <a:p>
            <a:pPr marL="171450" indent="-171450" algn="just">
              <a:lnSpc>
                <a:spcPct val="150000"/>
              </a:lnSpc>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0</a:t>
            </a:fld>
            <a:endParaRPr lang="en-US"/>
          </a:p>
        </p:txBody>
      </p:sp>
    </p:spTree>
    <p:extLst>
      <p:ext uri="{BB962C8B-B14F-4D97-AF65-F5344CB8AC3E}">
        <p14:creationId xmlns:p14="http://schemas.microsoft.com/office/powerpoint/2010/main" val="2835347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azon was the first company  to move in cloud platforms</a:t>
            </a:r>
          </a:p>
        </p:txBody>
      </p:sp>
      <p:sp>
        <p:nvSpPr>
          <p:cNvPr id="4" name="Slide Number Placeholder 3"/>
          <p:cNvSpPr>
            <a:spLocks noGrp="1"/>
          </p:cNvSpPr>
          <p:nvPr>
            <p:ph type="sldNum" sz="quarter" idx="10"/>
          </p:nvPr>
        </p:nvSpPr>
        <p:spPr/>
        <p:txBody>
          <a:bodyPr/>
          <a:lstStyle/>
          <a:p>
            <a:fld id="{E1E6101B-A11D-4C18-920C-0F59B31C7EF2}" type="slidenum">
              <a:rPr lang="en-US" smtClean="0"/>
              <a:t>11</a:t>
            </a:fld>
            <a:endParaRPr lang="en-US"/>
          </a:p>
        </p:txBody>
      </p:sp>
    </p:spTree>
    <p:extLst>
      <p:ext uri="{BB962C8B-B14F-4D97-AF65-F5344CB8AC3E}">
        <p14:creationId xmlns:p14="http://schemas.microsoft.com/office/powerpoint/2010/main" val="1694228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t>Types of cloud services:</a:t>
            </a:r>
          </a:p>
          <a:p>
            <a:pPr algn="just"/>
            <a:endParaRPr lang="en-US" b="1" dirty="0"/>
          </a:p>
          <a:p>
            <a:pPr algn="just"/>
            <a:r>
              <a:rPr lang="en-US" b="1" dirty="0"/>
              <a:t>Infrastructure as a Service (IaaS)</a:t>
            </a:r>
            <a:r>
              <a:rPr lang="en-US" dirty="0"/>
              <a:t> </a:t>
            </a:r>
          </a:p>
          <a:p>
            <a:pPr algn="just"/>
            <a:r>
              <a:rPr lang="en-US" dirty="0"/>
              <a:t>Rent IT infrastructure servers and virtual machines (VMs), storage, networks, operating systems from a cloud provider on a pay-as-you-go basis</a:t>
            </a:r>
          </a:p>
          <a:p>
            <a:pPr algn="just"/>
            <a:endParaRPr lang="en-US" b="1" dirty="0"/>
          </a:p>
          <a:p>
            <a:pPr algn="just"/>
            <a:r>
              <a:rPr lang="en-US" b="1" dirty="0"/>
              <a:t>Platform as a Service (PaaS)</a:t>
            </a:r>
            <a:r>
              <a:rPr lang="en-US" dirty="0"/>
              <a:t> </a:t>
            </a:r>
          </a:p>
          <a:p>
            <a:pPr algn="just"/>
            <a:r>
              <a:rPr lang="en-US" dirty="0"/>
              <a:t>Cloud computing services that supply an on-demand environment for developing, testing, delivering and managing software applications</a:t>
            </a:r>
          </a:p>
          <a:p>
            <a:pPr algn="just"/>
            <a:endParaRPr lang="en-US" dirty="0"/>
          </a:p>
          <a:p>
            <a:pPr algn="just"/>
            <a:r>
              <a:rPr lang="en-US" b="1" dirty="0"/>
              <a:t>Software as a Service (SaaS)</a:t>
            </a:r>
            <a:r>
              <a:rPr lang="en-US" dirty="0"/>
              <a:t> </a:t>
            </a:r>
          </a:p>
          <a:p>
            <a:pPr algn="just"/>
            <a:r>
              <a:rPr lang="en-US" dirty="0"/>
              <a:t>Delivering software applications over the Internet, on demand and typically on a subscription basis.</a:t>
            </a:r>
          </a:p>
        </p:txBody>
      </p:sp>
      <p:sp>
        <p:nvSpPr>
          <p:cNvPr id="4" name="Slide Number Placeholder 3"/>
          <p:cNvSpPr>
            <a:spLocks noGrp="1"/>
          </p:cNvSpPr>
          <p:nvPr>
            <p:ph type="sldNum" sz="quarter" idx="10"/>
          </p:nvPr>
        </p:nvSpPr>
        <p:spPr/>
        <p:txBody>
          <a:bodyPr/>
          <a:lstStyle/>
          <a:p>
            <a:fld id="{E1E6101B-A11D-4C18-920C-0F59B31C7EF2}" type="slidenum">
              <a:rPr lang="en-US" smtClean="0"/>
              <a:t>12</a:t>
            </a:fld>
            <a:endParaRPr lang="en-US"/>
          </a:p>
        </p:txBody>
      </p:sp>
    </p:spTree>
    <p:extLst>
      <p:ext uri="{BB962C8B-B14F-4D97-AF65-F5344CB8AC3E}">
        <p14:creationId xmlns:p14="http://schemas.microsoft.com/office/powerpoint/2010/main" val="29535987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734190883"/>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45531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768333" cy="5218764"/>
          </a:xfrm>
        </p:spPr>
        <p:txBody>
          <a:bodyPr/>
          <a:lstStyle>
            <a:lvl1pPr>
              <a:defRPr sz="2400"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descr="http://www.strategic-resume.com/wp-content/uploads/2015/08/SummaryIcon.png">
            <a:extLst>
              <a:ext uri="{FF2B5EF4-FFF2-40B4-BE49-F238E27FC236}">
                <a16:creationId xmlns:a16="http://schemas.microsoft.com/office/drawing/2014/main" id="{AB10C592-BA6A-4E13-92DA-82A1723A5A1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66900" y="1121076"/>
            <a:ext cx="1638300" cy="128587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768333" cy="751601"/>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1925436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768333" cy="5218764"/>
          </a:xfrm>
        </p:spPr>
        <p:txBody>
          <a:bodyPr/>
          <a:lstStyle>
            <a:lvl1pPr>
              <a:defRPr sz="2400"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768333" cy="751601"/>
          </a:xfrm>
        </p:spPr>
        <p:txBody>
          <a:bodyPr/>
          <a:lstStyle>
            <a:lvl1pPr>
              <a:defRPr sz="3200"/>
            </a:lvl1pPr>
          </a:lstStyle>
          <a:p>
            <a:r>
              <a:rPr lang="en-US" dirty="0"/>
              <a:t>Click to edit Master title style</a:t>
            </a:r>
          </a:p>
        </p:txBody>
      </p:sp>
      <p:pic>
        <p:nvPicPr>
          <p:cNvPr id="7" name="Picture 6">
            <a:extLst>
              <a:ext uri="{FF2B5EF4-FFF2-40B4-BE49-F238E27FC236}">
                <a16:creationId xmlns:a16="http://schemas.microsoft.com/office/drawing/2014/main" id="{083C2757-9CA1-4274-A359-0CFE9A932D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06629" y="1351280"/>
            <a:ext cx="1985371" cy="1508760"/>
          </a:xfrm>
          <a:prstGeom prst="rect">
            <a:avLst/>
          </a:prstGeom>
        </p:spPr>
      </p:pic>
    </p:spTree>
    <p:extLst>
      <p:ext uri="{BB962C8B-B14F-4D97-AF65-F5344CB8AC3E}">
        <p14:creationId xmlns:p14="http://schemas.microsoft.com/office/powerpoint/2010/main" val="24707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668443" cy="5218764"/>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668443" cy="751601"/>
          </a:xfrm>
        </p:spPr>
        <p:txBody>
          <a:bodyPr/>
          <a:lstStyle>
            <a:lvl1pPr>
              <a:defRPr sz="3200"/>
            </a:lvl1pPr>
          </a:lstStyle>
          <a:p>
            <a:r>
              <a:rPr lang="en-US" dirty="0"/>
              <a:t>Click to edit Master title style</a:t>
            </a:r>
          </a:p>
        </p:txBody>
      </p:sp>
      <p:pic>
        <p:nvPicPr>
          <p:cNvPr id="7" name="Picture 2">
            <a:extLst>
              <a:ext uri="{FF2B5EF4-FFF2-40B4-BE49-F238E27FC236}">
                <a16:creationId xmlns:a16="http://schemas.microsoft.com/office/drawing/2014/main" id="{70692A59-F575-4F30-8149-32774D344E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066850" y="1513840"/>
            <a:ext cx="2103120" cy="1166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468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1609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0186909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094950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09996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6751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63923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410551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379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857202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354098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06444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3823881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8516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8666779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222304" y="6555758"/>
            <a:ext cx="6320170" cy="187516"/>
          </a:xfrm>
          <a:prstGeom prst="rect">
            <a:avLst/>
          </a:prstGeom>
        </p:spPr>
        <p:txBody>
          <a:bodyPr wrap="square" lIns="0" tIns="0" rIns="0" bIns="0" anchor="ctr" anchorCtr="0">
            <a:noAutofit/>
          </a:bodyPr>
          <a:lstStyle/>
          <a:p>
            <a:pPr lvl="0" algn="l" defTabSz="914400">
              <a:lnSpc>
                <a:spcPct val="85000"/>
              </a:lnSpc>
              <a:defRPr/>
            </a:pPr>
            <a:r>
              <a:rPr lang="en-US" sz="800" dirty="0">
                <a:latin typeface="Verdana" panose="020B0604030504040204" pitchFamily="34" charset="0"/>
                <a:ea typeface="Verdana" panose="020B0604030504040204" pitchFamily="34" charset="0"/>
                <a:cs typeface="Verdana" panose="020B0604030504040204" pitchFamily="34" charset="0"/>
              </a:rPr>
              <a:t>Training delivery with DAL and Quality of Virtual Sessions by Karthik Muthukrishnan</a:t>
            </a:r>
            <a:endParaRPr lang="en-US" sz="800" kern="0" dirty="0">
              <a:solidFill>
                <a:srgbClr val="00458D"/>
              </a:solidFill>
              <a:latin typeface="+mn-lt"/>
              <a:ea typeface="+mn-ea"/>
              <a:cs typeface="Arial" panose="020B0604020202020204" pitchFamily="34" charset="0"/>
            </a:endParaRP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6837981"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8145205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5882297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22789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875916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8023831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96472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83577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687306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6990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144339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57331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371597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3459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3288190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10508547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895066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3898336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918293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181410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7263916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7225713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87661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0505929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7926001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3711990470"/>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E8BAF-0F6A-4E74-93FB-27693AB439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0D4D0B-F7DD-428D-8A91-81336DB693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A2D7F92-0CD8-4616-9A3D-2722521C5C61}"/>
              </a:ext>
            </a:extLst>
          </p:cNvPr>
          <p:cNvSpPr>
            <a:spLocks noGrp="1"/>
          </p:cNvSpPr>
          <p:nvPr>
            <p:ph type="dt" sz="half" idx="10"/>
          </p:nvPr>
        </p:nvSpPr>
        <p:spPr/>
        <p:txBody>
          <a:bodyPr/>
          <a:lstStyle/>
          <a:p>
            <a:fld id="{11E35CC7-FF03-41AD-865D-48CA4AAED558}" type="datetimeFigureOut">
              <a:rPr lang="en-US" smtClean="0"/>
              <a:t>6/13/2023</a:t>
            </a:fld>
            <a:endParaRPr lang="en-US"/>
          </a:p>
        </p:txBody>
      </p:sp>
      <p:sp>
        <p:nvSpPr>
          <p:cNvPr id="5" name="Footer Placeholder 4">
            <a:extLst>
              <a:ext uri="{FF2B5EF4-FFF2-40B4-BE49-F238E27FC236}">
                <a16:creationId xmlns:a16="http://schemas.microsoft.com/office/drawing/2014/main" id="{C8BAFFEF-37ED-41E9-8F0C-7E0E8E2192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1BF154-904F-457C-8A5A-783A981DFAE8}"/>
              </a:ext>
            </a:extLst>
          </p:cNvPr>
          <p:cNvSpPr>
            <a:spLocks noGrp="1"/>
          </p:cNvSpPr>
          <p:nvPr>
            <p:ph type="sldNum" sz="quarter" idx="12"/>
          </p:nvPr>
        </p:nvSpPr>
        <p:spPr/>
        <p:txBody>
          <a:bodyPr/>
          <a:lstStyle/>
          <a:p>
            <a:fld id="{A3EDB9A8-10EF-4116-BF8F-BF70201E12F5}" type="slidenum">
              <a:rPr lang="en-US" smtClean="0"/>
              <a:t>‹#›</a:t>
            </a:fld>
            <a:endParaRPr lang="en-US"/>
          </a:p>
        </p:txBody>
      </p:sp>
    </p:spTree>
    <p:extLst>
      <p:ext uri="{BB962C8B-B14F-4D97-AF65-F5344CB8AC3E}">
        <p14:creationId xmlns:p14="http://schemas.microsoft.com/office/powerpoint/2010/main" val="21388321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5839059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882927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124039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7.xml"/><Relationship Id="rId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heme" Target="../theme/theme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image" Target="../media/image4.svg"/><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3.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4.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390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7" r:id="rId6"/>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934593340"/>
      </p:ext>
    </p:extLst>
  </p:cSld>
  <p:clrMap bg1="lt1" tx1="dk1" bg2="lt2" tx2="dk2" accent1="accent1" accent2="accent2" accent3="accent3" accent4="accent4" accent5="accent5" accent6="accent6" hlink="hlink" folHlink="folHlink"/>
  <p:sldLayoutIdLst>
    <p:sldLayoutId id="2147483669" r:id="rId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7">
            <a:extLst>
              <a:ext uri="{96DAC541-7B7A-43D3-8B79-37D633B846F1}">
                <asvg:svgBlip xmlns:asvg="http://schemas.microsoft.com/office/drawing/2016/SVG/main" r:embed="rId2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211022441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716" r:id="rId4"/>
    <p:sldLayoutId id="2147483718" r:id="rId5"/>
    <p:sldLayoutId id="2147483717" r:id="rId6"/>
    <p:sldLayoutId id="2147483677" r:id="rId7"/>
    <p:sldLayoutId id="2147483678" r:id="rId8"/>
    <p:sldLayoutId id="2147483679" r:id="rId9"/>
    <p:sldLayoutId id="2147483680" r:id="rId10"/>
    <p:sldLayoutId id="2147483681"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715" r:id="rId2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35477015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46.pn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www.techtarget.com/searchcloudcomputing/definition/Software-as-a-Service"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CF0826-66D2-4267-AEF4-7A25E4B2424B}"/>
              </a:ext>
            </a:extLst>
          </p:cNvPr>
          <p:cNvSpPr>
            <a:spLocks noGrp="1"/>
          </p:cNvSpPr>
          <p:nvPr>
            <p:ph type="body" sz="quarter" idx="10"/>
          </p:nvPr>
        </p:nvSpPr>
        <p:spPr/>
        <p:txBody>
          <a:bodyPr>
            <a:normAutofit/>
          </a:bodyPr>
          <a:lstStyle/>
          <a:p>
            <a:r>
              <a:rPr lang="en-US" sz="3000" dirty="0"/>
              <a:t>Cloud Computing</a:t>
            </a:r>
          </a:p>
        </p:txBody>
      </p:sp>
    </p:spTree>
    <p:extLst>
      <p:ext uri="{BB962C8B-B14F-4D97-AF65-F5344CB8AC3E}">
        <p14:creationId xmlns:p14="http://schemas.microsoft.com/office/powerpoint/2010/main" val="2960643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Benefits of cloud computing</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3521605726"/>
              </p:ext>
            </p:extLst>
          </p:nvPr>
        </p:nvGraphicFramePr>
        <p:xfrm>
          <a:off x="752909" y="1230429"/>
          <a:ext cx="10748211"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2943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820583" y="278209"/>
            <a:ext cx="8681987" cy="584775"/>
          </a:xfrm>
          <a:prstGeom prst="rect">
            <a:avLst/>
          </a:prstGeom>
          <a:noFill/>
        </p:spPr>
        <p:txBody>
          <a:bodyPr wrap="square" rtlCol="0">
            <a:spAutoFit/>
          </a:bodyPr>
          <a:lstStyle/>
          <a:p>
            <a:r>
              <a:rPr lang="en-US" sz="3200" dirty="0"/>
              <a:t>Benefits of cloud computing:</a:t>
            </a:r>
          </a:p>
        </p:txBody>
      </p:sp>
      <p:sp>
        <p:nvSpPr>
          <p:cNvPr id="5" name="TextBox 4">
            <a:extLst>
              <a:ext uri="{FF2B5EF4-FFF2-40B4-BE49-F238E27FC236}">
                <a16:creationId xmlns:a16="http://schemas.microsoft.com/office/drawing/2014/main" id="{DE21B9F9-9725-409F-8A2A-AD1D32E00B20}"/>
              </a:ext>
            </a:extLst>
          </p:cNvPr>
          <p:cNvSpPr txBox="1"/>
          <p:nvPr/>
        </p:nvSpPr>
        <p:spPr>
          <a:xfrm>
            <a:off x="577516" y="991402"/>
            <a:ext cx="11223057" cy="5003614"/>
          </a:xfrm>
          <a:prstGeom prst="rect">
            <a:avLst/>
          </a:prstGeom>
          <a:noFill/>
        </p:spPr>
        <p:txBody>
          <a:bodyPr wrap="square" rtlCol="0">
            <a:spAutoFit/>
          </a:bodyPr>
          <a:lstStyle/>
          <a:p>
            <a:pPr marL="171450" indent="-171450" algn="just">
              <a:lnSpc>
                <a:spcPct val="150000"/>
              </a:lnSpc>
              <a:buFont typeface="Arial" panose="020B0604020202020204" pitchFamily="34" charset="0"/>
              <a:buChar char="•"/>
            </a:pPr>
            <a:r>
              <a:rPr lang="en-US" sz="2400" b="1" dirty="0"/>
              <a:t>Cost</a:t>
            </a:r>
            <a:r>
              <a:rPr lang="en-US" sz="2400" dirty="0"/>
              <a:t> : Hugely reduced capital cost of buying hardware and software's</a:t>
            </a:r>
          </a:p>
          <a:p>
            <a:pPr marL="171450" indent="-171450" algn="just">
              <a:lnSpc>
                <a:spcPct val="150000"/>
              </a:lnSpc>
              <a:buFont typeface="Arial" panose="020B0604020202020204" pitchFamily="34" charset="0"/>
              <a:buChar char="•"/>
            </a:pPr>
            <a:r>
              <a:rPr lang="en-US" sz="2400" b="1" dirty="0"/>
              <a:t>Speed</a:t>
            </a:r>
            <a:r>
              <a:rPr lang="en-US" sz="2400" dirty="0"/>
              <a:t> :  Computing resources can be provisioned in minutes typically with in few minutes</a:t>
            </a:r>
          </a:p>
          <a:p>
            <a:pPr marL="171450" indent="-171450" algn="just">
              <a:lnSpc>
                <a:spcPct val="150000"/>
              </a:lnSpc>
              <a:buFont typeface="Arial" panose="020B0604020202020204" pitchFamily="34" charset="0"/>
              <a:buChar char="•"/>
            </a:pPr>
            <a:r>
              <a:rPr lang="en-US" sz="2400" b="1" dirty="0"/>
              <a:t>Scalability</a:t>
            </a:r>
            <a:r>
              <a:rPr lang="en-US" sz="2400" dirty="0"/>
              <a:t> :  Computing resources can be scaled up and down quickly according to the business requirements</a:t>
            </a:r>
          </a:p>
          <a:p>
            <a:pPr marL="171450" indent="-171450" algn="just">
              <a:lnSpc>
                <a:spcPct val="150000"/>
              </a:lnSpc>
              <a:buFont typeface="Arial" panose="020B0604020202020204" pitchFamily="34" charset="0"/>
              <a:buChar char="•"/>
            </a:pPr>
            <a:r>
              <a:rPr lang="en-US" sz="2400" b="1" dirty="0"/>
              <a:t>Productivity </a:t>
            </a:r>
            <a:r>
              <a:rPr lang="en-US" sz="2400" dirty="0"/>
              <a:t> :  Cloud Computing  takes out hardware setup, patching etc. so that IT team can focus on achieving business goals </a:t>
            </a:r>
          </a:p>
          <a:p>
            <a:pPr marL="171450" indent="-171450" algn="just">
              <a:lnSpc>
                <a:spcPct val="150000"/>
              </a:lnSpc>
              <a:buFont typeface="Arial" panose="020B0604020202020204" pitchFamily="34" charset="0"/>
              <a:buChar char="•"/>
            </a:pPr>
            <a:r>
              <a:rPr lang="en-US" sz="2400" b="1" dirty="0"/>
              <a:t>Reliability</a:t>
            </a:r>
            <a:r>
              <a:rPr lang="en-US" sz="2400" dirty="0"/>
              <a:t> :  Cloud computing makes data backup, data recovery and business continuity less expensive and faster recovery</a:t>
            </a:r>
          </a:p>
        </p:txBody>
      </p:sp>
    </p:spTree>
    <p:extLst>
      <p:ext uri="{BB962C8B-B14F-4D97-AF65-F5344CB8AC3E}">
        <p14:creationId xmlns:p14="http://schemas.microsoft.com/office/powerpoint/2010/main" val="105786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Services</a:t>
            </a:r>
          </a:p>
        </p:txBody>
      </p:sp>
      <p:pic>
        <p:nvPicPr>
          <p:cNvPr id="6" name="Picture 1" descr="image001">
            <a:extLst>
              <a:ext uri="{FF2B5EF4-FFF2-40B4-BE49-F238E27FC236}">
                <a16:creationId xmlns:a16="http://schemas.microsoft.com/office/drawing/2014/main" id="{F6430A55-ECBB-4CD0-8659-C132AB7F3183}"/>
              </a:ext>
            </a:extLst>
          </p:cNvPr>
          <p:cNvPicPr>
            <a:picLocks noChangeAspect="1" noChangeArrowheads="1"/>
          </p:cNvPicPr>
          <p:nvPr/>
        </p:nvPicPr>
        <p:blipFill>
          <a:blip r:embed="rId3"/>
          <a:srcRect t="11038"/>
          <a:stretch>
            <a:fillRect/>
          </a:stretch>
        </p:blipFill>
        <p:spPr bwMode="auto">
          <a:xfrm>
            <a:off x="3742148" y="1625600"/>
            <a:ext cx="8216172" cy="4762344"/>
          </a:xfrm>
          <a:prstGeom prst="rect">
            <a:avLst/>
          </a:prstGeom>
          <a:noFill/>
          <a:ln w="9525">
            <a:noFill/>
            <a:miter lim="800000"/>
            <a:headEnd/>
            <a:tailEnd/>
          </a:ln>
        </p:spPr>
      </p:pic>
      <p:pic>
        <p:nvPicPr>
          <p:cNvPr id="7" name="Picture 2" descr="Image result for Iaas Paas">
            <a:extLst>
              <a:ext uri="{FF2B5EF4-FFF2-40B4-BE49-F238E27FC236}">
                <a16:creationId xmlns:a16="http://schemas.microsoft.com/office/drawing/2014/main" id="{068CB20C-D39E-485F-AC24-9698F5441FB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3680" y="2407046"/>
            <a:ext cx="3067816" cy="10787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Iaas Paas">
            <a:extLst>
              <a:ext uri="{FF2B5EF4-FFF2-40B4-BE49-F238E27FC236}">
                <a16:creationId xmlns:a16="http://schemas.microsoft.com/office/drawing/2014/main" id="{53B29B87-73B9-41E8-93FC-8928EFFA28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015" y="3548539"/>
            <a:ext cx="3469659" cy="2435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3111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E21B9F9-9725-409F-8A2A-AD1D32E00B20}"/>
              </a:ext>
            </a:extLst>
          </p:cNvPr>
          <p:cNvSpPr txBox="1"/>
          <p:nvPr/>
        </p:nvSpPr>
        <p:spPr>
          <a:xfrm>
            <a:off x="577516" y="991402"/>
            <a:ext cx="11223057" cy="5632311"/>
          </a:xfrm>
          <a:prstGeom prst="rect">
            <a:avLst/>
          </a:prstGeom>
          <a:noFill/>
        </p:spPr>
        <p:txBody>
          <a:bodyPr wrap="square" rtlCol="0">
            <a:spAutoFit/>
          </a:bodyPr>
          <a:lstStyle/>
          <a:p>
            <a:pPr algn="just"/>
            <a:r>
              <a:rPr lang="en-US" sz="2000" b="1" dirty="0">
                <a:latin typeface="Times New Roman" panose="02020603050405020304" pitchFamily="18" charset="0"/>
                <a:cs typeface="Times New Roman" panose="02020603050405020304" pitchFamily="18" charset="0"/>
              </a:rPr>
              <a:t>Types of cloud services:</a:t>
            </a:r>
          </a:p>
          <a:p>
            <a:pPr algn="just"/>
            <a:endParaRPr lang="en-US" sz="2000" b="1" dirty="0">
              <a:latin typeface="Times New Roman" panose="02020603050405020304" pitchFamily="18" charset="0"/>
              <a:cs typeface="Times New Roman" panose="02020603050405020304" pitchFamily="18" charset="0"/>
            </a:endParaRPr>
          </a:p>
          <a:p>
            <a:pPr algn="just"/>
            <a:r>
              <a:rPr lang="en-US" sz="2000" b="1" dirty="0">
                <a:latin typeface="Times New Roman" panose="02020603050405020304" pitchFamily="18" charset="0"/>
                <a:cs typeface="Times New Roman" panose="02020603050405020304" pitchFamily="18" charset="0"/>
              </a:rPr>
              <a:t>Infrastructure as a Service (IaaS)</a:t>
            </a:r>
            <a:r>
              <a:rPr lang="en-US" sz="2000" dirty="0">
                <a:latin typeface="Times New Roman" panose="02020603050405020304" pitchFamily="18" charset="0"/>
                <a:cs typeface="Times New Roman" panose="02020603050405020304" pitchFamily="18" charset="0"/>
              </a:rPr>
              <a:t> </a:t>
            </a:r>
          </a:p>
          <a:p>
            <a:pPr algn="just"/>
            <a:r>
              <a:rPr lang="en-US" sz="2000" dirty="0">
                <a:latin typeface="Times New Roman" panose="02020603050405020304" pitchFamily="18" charset="0"/>
                <a:cs typeface="Times New Roman" panose="02020603050405020304" pitchFamily="18" charset="0"/>
              </a:rPr>
              <a:t>Rent IT infrastructure servers and virtual machines (VMs), storage, networks, operating systems from a cloud provider on a pay-as-you-go basis</a:t>
            </a:r>
          </a:p>
          <a:p>
            <a:pPr algn="just"/>
            <a:endParaRPr lang="en-US" sz="2000" b="1" dirty="0">
              <a:latin typeface="Times New Roman" panose="02020603050405020304" pitchFamily="18" charset="0"/>
              <a:cs typeface="Times New Roman" panose="02020603050405020304" pitchFamily="18" charset="0"/>
            </a:endParaRPr>
          </a:p>
          <a:p>
            <a:pPr algn="just"/>
            <a:r>
              <a:rPr lang="en-US" sz="2000" b="1" dirty="0">
                <a:latin typeface="Times New Roman" panose="02020603050405020304" pitchFamily="18" charset="0"/>
                <a:cs typeface="Times New Roman" panose="02020603050405020304" pitchFamily="18" charset="0"/>
              </a:rPr>
              <a:t>Platform as a Service (PaaS)</a:t>
            </a:r>
            <a:r>
              <a:rPr lang="en-US" sz="2000" dirty="0">
                <a:latin typeface="Times New Roman" panose="02020603050405020304" pitchFamily="18" charset="0"/>
                <a:cs typeface="Times New Roman" panose="02020603050405020304" pitchFamily="18" charset="0"/>
              </a:rPr>
              <a:t> </a:t>
            </a:r>
          </a:p>
          <a:p>
            <a:pPr algn="just"/>
            <a:r>
              <a:rPr lang="en-US" sz="2000" dirty="0">
                <a:latin typeface="Times New Roman" panose="02020603050405020304" pitchFamily="18" charset="0"/>
                <a:cs typeface="Times New Roman" panose="02020603050405020304" pitchFamily="18" charset="0"/>
              </a:rPr>
              <a:t>Cloud computing services that supply an on-demand environment for developing, testing, delivering and managing software applications</a:t>
            </a:r>
            <a:endParaRPr lang="en-US" sz="2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r>
              <a:rPr lang="en-IN" sz="2000" dirty="0">
                <a:effectLst/>
                <a:latin typeface="Times New Roman" panose="02020603050405020304" pitchFamily="18" charset="0"/>
                <a:ea typeface="Times New Roman" panose="02020603050405020304" pitchFamily="18" charset="0"/>
                <a:cs typeface="Times New Roman" panose="02020603050405020304" pitchFamily="18" charset="0"/>
              </a:rPr>
              <a:t>It allows developers to build applications, collaborate on projects without having to purchase or maintain infrastructure</a:t>
            </a:r>
            <a:r>
              <a:rPr lang="en-IN" sz="2000" dirty="0">
                <a:solidFill>
                  <a:srgbClr val="4A4A4A"/>
                </a:solidFill>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endParaRPr lang="en-US" sz="2000" dirty="0">
              <a:latin typeface="Times New Roman" panose="02020603050405020304" pitchFamily="18" charset="0"/>
              <a:cs typeface="Times New Roman" panose="02020603050405020304" pitchFamily="18" charset="0"/>
            </a:endParaRPr>
          </a:p>
          <a:p>
            <a:pPr algn="just"/>
            <a:r>
              <a:rPr lang="en-US" sz="2000" b="1" dirty="0">
                <a:latin typeface="Times New Roman" panose="02020603050405020304" pitchFamily="18" charset="0"/>
                <a:cs typeface="Times New Roman" panose="02020603050405020304" pitchFamily="18" charset="0"/>
              </a:rPr>
              <a:t>Software as a Service (SaaS)</a:t>
            </a:r>
            <a:r>
              <a:rPr lang="en-US" sz="2000" dirty="0">
                <a:latin typeface="Times New Roman" panose="02020603050405020304" pitchFamily="18" charset="0"/>
                <a:cs typeface="Times New Roman" panose="02020603050405020304" pitchFamily="18" charset="0"/>
              </a:rPr>
              <a:t> </a:t>
            </a:r>
          </a:p>
          <a:p>
            <a:pPr algn="just"/>
            <a:r>
              <a:rPr lang="en-US" sz="2000" dirty="0">
                <a:latin typeface="Times New Roman" panose="02020603050405020304" pitchFamily="18" charset="0"/>
                <a:cs typeface="Times New Roman" panose="02020603050405020304" pitchFamily="18" charset="0"/>
              </a:rPr>
              <a:t>Delivering software applications over the Internet, on demand and typically on a subscription basis.</a:t>
            </a:r>
          </a:p>
          <a:p>
            <a:pPr algn="just"/>
            <a:r>
              <a:rPr lang="en-IN" sz="2000" dirty="0">
                <a:solidFill>
                  <a:srgbClr val="4A4A4A"/>
                </a:solidFill>
                <a:effectLst/>
                <a:latin typeface="Times New Roman" panose="02020603050405020304" pitchFamily="18" charset="0"/>
                <a:ea typeface="Times New Roman" panose="02020603050405020304" pitchFamily="18" charset="0"/>
                <a:cs typeface="Times New Roman" panose="02020603050405020304" pitchFamily="18" charset="0"/>
              </a:rPr>
              <a:t>It allows companies to rent servers, storage space, etc. from a cloud provider.</a:t>
            </a:r>
          </a:p>
          <a:p>
            <a:pPr algn="just"/>
            <a:r>
              <a:rPr lang="en-US" sz="2000" b="0" i="0" dirty="0">
                <a:solidFill>
                  <a:srgbClr val="181818"/>
                </a:solidFill>
                <a:effectLst/>
                <a:latin typeface="SalesforceSansRegular"/>
              </a:rPr>
              <a:t>Software-as-a-Service (SaaS), is a cloud based software delivery model that allows end users to access software applications over the internet</a:t>
            </a:r>
            <a:endParaRPr lang="en-US" sz="2000" dirty="0">
              <a:solidFill>
                <a:srgbClr val="4A4A4A"/>
              </a:solidFill>
              <a:effectLst/>
              <a:latin typeface="Times New Roman" panose="02020603050405020304" pitchFamily="18" charset="0"/>
              <a:ea typeface="Calibri" panose="020F0502020204030204" pitchFamily="34" charset="0"/>
              <a:cs typeface="Times New Roman" panose="02020603050405020304" pitchFamily="18" charset="0"/>
            </a:endParaRPr>
          </a:p>
          <a:p>
            <a:pPr algn="just"/>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2061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Applications (SaaS)</a:t>
            </a:r>
          </a:p>
        </p:txBody>
      </p:sp>
      <p:sp>
        <p:nvSpPr>
          <p:cNvPr id="5" name="TextBox 4">
            <a:extLst>
              <a:ext uri="{FF2B5EF4-FFF2-40B4-BE49-F238E27FC236}">
                <a16:creationId xmlns:a16="http://schemas.microsoft.com/office/drawing/2014/main" id="{D472B14B-8BDC-469C-B41B-B9957CAA843D}"/>
              </a:ext>
            </a:extLst>
          </p:cNvPr>
          <p:cNvSpPr txBox="1"/>
          <p:nvPr/>
        </p:nvSpPr>
        <p:spPr>
          <a:xfrm>
            <a:off x="577516" y="1328286"/>
            <a:ext cx="11223057" cy="4449616"/>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Running applications on the public cloud is commonly referred as Software as a Service(SaaS)</a:t>
            </a:r>
          </a:p>
          <a:p>
            <a:pPr marL="342900" indent="-342900" algn="just">
              <a:lnSpc>
                <a:spcPct val="150000"/>
              </a:lnSpc>
              <a:buFont typeface="Arial" panose="020B0604020202020204" pitchFamily="34" charset="0"/>
              <a:buChar char="•"/>
            </a:pPr>
            <a:r>
              <a:rPr lang="en-US" sz="2400" dirty="0"/>
              <a:t>Cloud applications is nothing but an application which offers CRM(Customer Relationship Management), Email, ERP, collaboration, productivity etc.</a:t>
            </a:r>
          </a:p>
          <a:p>
            <a:pPr marL="342900" indent="-342900" algn="just">
              <a:lnSpc>
                <a:spcPct val="150000"/>
              </a:lnSpc>
              <a:buFont typeface="Arial" panose="020B0604020202020204" pitchFamily="34" charset="0"/>
              <a:buChar char="•"/>
            </a:pPr>
            <a:r>
              <a:rPr lang="en-US" sz="2400" dirty="0"/>
              <a:t>Microsoft, Google, Salesforce, SAP, IBM, Oracle, NetSuite &amp; </a:t>
            </a:r>
            <a:r>
              <a:rPr lang="en-US" sz="2400" dirty="0" err="1"/>
              <a:t>Zoho</a:t>
            </a:r>
            <a:r>
              <a:rPr lang="en-US" sz="2400" dirty="0"/>
              <a:t> were some of the important service providers to offer cloud applications.</a:t>
            </a:r>
          </a:p>
        </p:txBody>
      </p:sp>
    </p:spTree>
    <p:extLst>
      <p:ext uri="{BB962C8B-B14F-4D97-AF65-F5344CB8AC3E}">
        <p14:creationId xmlns:p14="http://schemas.microsoft.com/office/powerpoint/2010/main" val="20625007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Applications (SaaS)</a:t>
            </a:r>
          </a:p>
        </p:txBody>
      </p:sp>
      <p:sp>
        <p:nvSpPr>
          <p:cNvPr id="5" name="TextBox 4">
            <a:extLst>
              <a:ext uri="{FF2B5EF4-FFF2-40B4-BE49-F238E27FC236}">
                <a16:creationId xmlns:a16="http://schemas.microsoft.com/office/drawing/2014/main" id="{D472B14B-8BDC-469C-B41B-B9957CAA843D}"/>
              </a:ext>
            </a:extLst>
          </p:cNvPr>
          <p:cNvSpPr txBox="1"/>
          <p:nvPr/>
        </p:nvSpPr>
        <p:spPr>
          <a:xfrm>
            <a:off x="577516" y="1328286"/>
            <a:ext cx="11223057" cy="1932132"/>
          </a:xfrm>
          <a:prstGeom prst="rect">
            <a:avLst/>
          </a:prstGeom>
          <a:noFill/>
        </p:spPr>
        <p:txBody>
          <a:bodyPr wrap="square" rtlCol="0">
            <a:spAutoFit/>
          </a:bodyPr>
          <a:lstStyle/>
          <a:p>
            <a:pPr>
              <a:spcAft>
                <a:spcPts val="0"/>
              </a:spcAft>
            </a:pPr>
            <a:endParaRPr lang="en-US" dirty="0">
              <a:effectLst/>
            </a:endParaRPr>
          </a:p>
          <a:p>
            <a:pPr marR="0" lvl="1" algn="just">
              <a:lnSpc>
                <a:spcPct val="107000"/>
              </a:lnSpc>
              <a:spcBef>
                <a:spcPts val="0"/>
              </a:spcBef>
              <a:spcAft>
                <a:spcPts val="800"/>
              </a:spcAft>
              <a:buSzPts val="1000"/>
              <a:tabLst>
                <a:tab pos="914400" algn="l"/>
              </a:tabLst>
            </a:pPr>
            <a:r>
              <a:rPr lang="en-IN" sz="2400"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It allows companies to use software without purchasing them, which reduces the expenditure of the company drastically, since they are already installed on the cloud servers they can be quickly deployed and therefore saves time.</a:t>
            </a:r>
            <a:endParaRPr lang="en-US" sz="2400" dirty="0">
              <a:solidFill>
                <a:srgbClr val="4A4A4A"/>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89360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pplications</a:t>
            </a:r>
          </a:p>
        </p:txBody>
      </p:sp>
      <p:sp>
        <p:nvSpPr>
          <p:cNvPr id="5" name="TextBox 4">
            <a:extLst>
              <a:ext uri="{FF2B5EF4-FFF2-40B4-BE49-F238E27FC236}">
                <a16:creationId xmlns:a16="http://schemas.microsoft.com/office/drawing/2014/main" id="{D472B14B-8BDC-469C-B41B-B9957CAA843D}"/>
              </a:ext>
            </a:extLst>
          </p:cNvPr>
          <p:cNvSpPr txBox="1"/>
          <p:nvPr/>
        </p:nvSpPr>
        <p:spPr>
          <a:xfrm>
            <a:off x="577516" y="1328286"/>
            <a:ext cx="11223057" cy="5693866"/>
          </a:xfrm>
          <a:prstGeom prst="rect">
            <a:avLst/>
          </a:prstGeom>
          <a:noFill/>
        </p:spPr>
        <p:txBody>
          <a:bodyPr wrap="square" rtlCol="0">
            <a:spAutoFit/>
          </a:bodyPr>
          <a:lstStyle/>
          <a:p>
            <a:pPr>
              <a:spcAft>
                <a:spcPts val="0"/>
              </a:spcAft>
            </a:pPr>
            <a:endParaRPr lang="en-US" sz="2800" dirty="0">
              <a:effectLst/>
              <a:latin typeface="Times New Roman" panose="02020603050405020304" pitchFamily="18" charset="0"/>
              <a:cs typeface="Times New Roman" panose="02020603050405020304" pitchFamily="18" charset="0"/>
            </a:endParaRPr>
          </a:p>
          <a:p>
            <a:r>
              <a:rPr lang="en-US" sz="2800" b="1" dirty="0">
                <a:latin typeface="Times New Roman" panose="02020603050405020304" pitchFamily="18" charset="0"/>
                <a:cs typeface="Times New Roman" panose="02020603050405020304" pitchFamily="18" charset="0"/>
              </a:rPr>
              <a:t>Single-Tenant Application </a:t>
            </a:r>
          </a:p>
          <a:p>
            <a:pPr algn="just"/>
            <a:r>
              <a:rPr lang="en-US" sz="2800" dirty="0">
                <a:latin typeface="Times New Roman" panose="02020603050405020304" pitchFamily="18" charset="0"/>
                <a:cs typeface="Times New Roman" panose="02020603050405020304" pitchFamily="18" charset="0"/>
              </a:rPr>
              <a:t>Multiple users or Multiple customer organizations, are assigned with their own copy of the application. It requires one instance for each customer, there's no cost advantage.</a:t>
            </a:r>
          </a:p>
          <a:p>
            <a:pPr algn="just"/>
            <a:endParaRPr lang="en-US" sz="2800" dirty="0">
              <a:latin typeface="Times New Roman" panose="02020603050405020304" pitchFamily="18" charset="0"/>
              <a:cs typeface="Times New Roman" panose="02020603050405020304" pitchFamily="18" charset="0"/>
            </a:endParaRPr>
          </a:p>
          <a:p>
            <a:pPr algn="just"/>
            <a:r>
              <a:rPr lang="en-US" sz="2800" b="0" i="0" dirty="0">
                <a:effectLst/>
                <a:latin typeface="Times New Roman" panose="02020603050405020304" pitchFamily="18" charset="0"/>
                <a:cs typeface="Times New Roman" panose="02020603050405020304" pitchFamily="18" charset="0"/>
              </a:rPr>
              <a:t>Single-tenancy is commonly implemented in software as a service (</a:t>
            </a:r>
            <a:r>
              <a:rPr lang="en-US" sz="2800" b="0" i="0" u="sng" dirty="0">
                <a:effectLst/>
                <a:latin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SaaS</a:t>
            </a:r>
            <a:r>
              <a:rPr lang="en-US" sz="2800" b="0" i="0" dirty="0">
                <a:effectLst/>
                <a:latin typeface="Times New Roman" panose="02020603050405020304" pitchFamily="18" charset="0"/>
                <a:cs typeface="Times New Roman" panose="02020603050405020304" pitchFamily="18" charset="0"/>
              </a:rPr>
              <a:t>) delivery models or in cloud services.</a:t>
            </a:r>
            <a:endParaRPr lang="en-US" sz="2800" dirty="0">
              <a:latin typeface="Times New Roman" panose="02020603050405020304" pitchFamily="18"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r>
              <a:rPr lang="en-US" sz="2800" b="1" dirty="0">
                <a:latin typeface="Times New Roman" panose="02020603050405020304" pitchFamily="18" charset="0"/>
                <a:cs typeface="Times New Roman" panose="02020603050405020304" pitchFamily="18" charset="0"/>
              </a:rPr>
              <a:t>Multi-Tenant Application </a:t>
            </a:r>
          </a:p>
          <a:p>
            <a:pPr algn="just"/>
            <a:r>
              <a:rPr lang="en-US" sz="2800" dirty="0">
                <a:latin typeface="Times New Roman" panose="02020603050405020304" pitchFamily="18" charset="0"/>
                <a:cs typeface="Times New Roman" panose="02020603050405020304" pitchFamily="18" charset="0"/>
              </a:rPr>
              <a:t>Multiple users or Multiple customer organizations, shares a single copy of the application with their data. It is easy to update, to maintain, to work with, and thus provides cost saving to customers</a:t>
            </a:r>
          </a:p>
        </p:txBody>
      </p:sp>
    </p:spTree>
    <p:extLst>
      <p:ext uri="{BB962C8B-B14F-4D97-AF65-F5344CB8AC3E}">
        <p14:creationId xmlns:p14="http://schemas.microsoft.com/office/powerpoint/2010/main" val="18853835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D9EC80-0E07-4B0A-9A19-89D32BEC7691}"/>
              </a:ext>
            </a:extLst>
          </p:cNvPr>
          <p:cNvSpPr/>
          <p:nvPr/>
        </p:nvSpPr>
        <p:spPr>
          <a:xfrm>
            <a:off x="6373759" y="4702475"/>
            <a:ext cx="3918857" cy="166944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pic>
        <p:nvPicPr>
          <p:cNvPr id="3" name="Picture 2">
            <a:extLst>
              <a:ext uri="{FF2B5EF4-FFF2-40B4-BE49-F238E27FC236}">
                <a16:creationId xmlns:a16="http://schemas.microsoft.com/office/drawing/2014/main" id="{62CFF9BE-ED7F-4F8C-8301-37927067C9A9}"/>
              </a:ext>
            </a:extLst>
          </p:cNvPr>
          <p:cNvPicPr>
            <a:picLocks noChangeAspect="1" noChangeArrowheads="1"/>
          </p:cNvPicPr>
          <p:nvPr/>
        </p:nvPicPr>
        <p:blipFill>
          <a:blip r:embed="rId3"/>
          <a:srcRect/>
          <a:stretch>
            <a:fillRect/>
          </a:stretch>
        </p:blipFill>
        <p:spPr bwMode="auto">
          <a:xfrm>
            <a:off x="2012216" y="1574646"/>
            <a:ext cx="1023257" cy="1023257"/>
          </a:xfrm>
          <a:prstGeom prst="rect">
            <a:avLst/>
          </a:prstGeom>
          <a:noFill/>
          <a:ln w="9525">
            <a:noFill/>
            <a:miter lim="800000"/>
            <a:headEnd/>
            <a:tailEnd/>
          </a:ln>
          <a:effectLst/>
        </p:spPr>
      </p:pic>
      <p:sp>
        <p:nvSpPr>
          <p:cNvPr id="4" name="TextBox 3">
            <a:extLst>
              <a:ext uri="{FF2B5EF4-FFF2-40B4-BE49-F238E27FC236}">
                <a16:creationId xmlns:a16="http://schemas.microsoft.com/office/drawing/2014/main" id="{0CACAC2F-9A9E-46FB-921C-B5EC7AC5553A}"/>
              </a:ext>
            </a:extLst>
          </p:cNvPr>
          <p:cNvSpPr txBox="1"/>
          <p:nvPr/>
        </p:nvSpPr>
        <p:spPr>
          <a:xfrm>
            <a:off x="2687129" y="1042470"/>
            <a:ext cx="1712685"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Single-Tenant</a:t>
            </a:r>
          </a:p>
        </p:txBody>
      </p:sp>
      <p:sp>
        <p:nvSpPr>
          <p:cNvPr id="5" name="TextBox 4">
            <a:extLst>
              <a:ext uri="{FF2B5EF4-FFF2-40B4-BE49-F238E27FC236}">
                <a16:creationId xmlns:a16="http://schemas.microsoft.com/office/drawing/2014/main" id="{DF82CB3E-D9BF-4B99-BB54-46F718E58B9C}"/>
              </a:ext>
            </a:extLst>
          </p:cNvPr>
          <p:cNvSpPr txBox="1"/>
          <p:nvPr/>
        </p:nvSpPr>
        <p:spPr>
          <a:xfrm>
            <a:off x="7389759" y="1110190"/>
            <a:ext cx="1879600"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Multi-Tenant</a:t>
            </a:r>
          </a:p>
        </p:txBody>
      </p:sp>
      <p:cxnSp>
        <p:nvCxnSpPr>
          <p:cNvPr id="6" name="Straight Connector 5">
            <a:extLst>
              <a:ext uri="{FF2B5EF4-FFF2-40B4-BE49-F238E27FC236}">
                <a16:creationId xmlns:a16="http://schemas.microsoft.com/office/drawing/2014/main" id="{6A5A222A-8C4D-4375-8472-B260EAB3D2E5}"/>
              </a:ext>
            </a:extLst>
          </p:cNvPr>
          <p:cNvCxnSpPr/>
          <p:nvPr/>
        </p:nvCxnSpPr>
        <p:spPr>
          <a:xfrm rot="16200000" flipH="1">
            <a:off x="3311243" y="3875160"/>
            <a:ext cx="5399314" cy="58057"/>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2">
            <a:extLst>
              <a:ext uri="{FF2B5EF4-FFF2-40B4-BE49-F238E27FC236}">
                <a16:creationId xmlns:a16="http://schemas.microsoft.com/office/drawing/2014/main" id="{9CD6902C-6BB5-47F5-A891-518AC9D3B4D3}"/>
              </a:ext>
            </a:extLst>
          </p:cNvPr>
          <p:cNvPicPr>
            <a:picLocks noChangeAspect="1" noChangeArrowheads="1"/>
          </p:cNvPicPr>
          <p:nvPr/>
        </p:nvPicPr>
        <p:blipFill>
          <a:blip r:embed="rId3"/>
          <a:srcRect/>
          <a:stretch>
            <a:fillRect/>
          </a:stretch>
        </p:blipFill>
        <p:spPr bwMode="auto">
          <a:xfrm>
            <a:off x="4211129" y="1567389"/>
            <a:ext cx="1023257" cy="1023257"/>
          </a:xfrm>
          <a:prstGeom prst="rect">
            <a:avLst/>
          </a:prstGeom>
          <a:noFill/>
          <a:ln w="9525">
            <a:noFill/>
            <a:miter lim="800000"/>
            <a:headEnd/>
            <a:tailEnd/>
          </a:ln>
          <a:effectLst/>
        </p:spPr>
      </p:pic>
      <p:pic>
        <p:nvPicPr>
          <p:cNvPr id="8" name="Picture 2">
            <a:extLst>
              <a:ext uri="{FF2B5EF4-FFF2-40B4-BE49-F238E27FC236}">
                <a16:creationId xmlns:a16="http://schemas.microsoft.com/office/drawing/2014/main" id="{9F1DA4D7-6869-4680-B9B1-103D64B66337}"/>
              </a:ext>
            </a:extLst>
          </p:cNvPr>
          <p:cNvPicPr>
            <a:picLocks noChangeAspect="1" noChangeArrowheads="1"/>
          </p:cNvPicPr>
          <p:nvPr/>
        </p:nvPicPr>
        <p:blipFill>
          <a:blip r:embed="rId3"/>
          <a:srcRect/>
          <a:stretch>
            <a:fillRect/>
          </a:stretch>
        </p:blipFill>
        <p:spPr bwMode="auto">
          <a:xfrm>
            <a:off x="6896273" y="1698017"/>
            <a:ext cx="1023257" cy="1023257"/>
          </a:xfrm>
          <a:prstGeom prst="rect">
            <a:avLst/>
          </a:prstGeom>
          <a:noFill/>
          <a:ln w="9525">
            <a:noFill/>
            <a:miter lim="800000"/>
            <a:headEnd/>
            <a:tailEnd/>
          </a:ln>
          <a:effectLst/>
        </p:spPr>
      </p:pic>
      <p:pic>
        <p:nvPicPr>
          <p:cNvPr id="9" name="Picture 2">
            <a:extLst>
              <a:ext uri="{FF2B5EF4-FFF2-40B4-BE49-F238E27FC236}">
                <a16:creationId xmlns:a16="http://schemas.microsoft.com/office/drawing/2014/main" id="{808B8C30-D82F-423A-B85B-BACC61D3A572}"/>
              </a:ext>
            </a:extLst>
          </p:cNvPr>
          <p:cNvPicPr>
            <a:picLocks noChangeAspect="1" noChangeArrowheads="1"/>
          </p:cNvPicPr>
          <p:nvPr/>
        </p:nvPicPr>
        <p:blipFill>
          <a:blip r:embed="rId3"/>
          <a:srcRect/>
          <a:stretch>
            <a:fillRect/>
          </a:stretch>
        </p:blipFill>
        <p:spPr bwMode="auto">
          <a:xfrm>
            <a:off x="8572672" y="1676246"/>
            <a:ext cx="1023257" cy="1023257"/>
          </a:xfrm>
          <a:prstGeom prst="rect">
            <a:avLst/>
          </a:prstGeom>
          <a:noFill/>
          <a:ln w="9525">
            <a:noFill/>
            <a:miter lim="800000"/>
            <a:headEnd/>
            <a:tailEnd/>
          </a:ln>
          <a:effectLst/>
        </p:spPr>
      </p:pic>
      <p:sp>
        <p:nvSpPr>
          <p:cNvPr id="10" name="TextBox 9">
            <a:extLst>
              <a:ext uri="{FF2B5EF4-FFF2-40B4-BE49-F238E27FC236}">
                <a16:creationId xmlns:a16="http://schemas.microsoft.com/office/drawing/2014/main" id="{0778F656-70D0-4096-ACC9-C4D54682CEFB}"/>
              </a:ext>
            </a:extLst>
          </p:cNvPr>
          <p:cNvSpPr txBox="1"/>
          <p:nvPr/>
        </p:nvSpPr>
        <p:spPr>
          <a:xfrm>
            <a:off x="1816271" y="2554362"/>
            <a:ext cx="1364343" cy="369332"/>
          </a:xfrm>
          <a:prstGeom prst="rect">
            <a:avLst/>
          </a:prstGeom>
          <a:noFill/>
        </p:spPr>
        <p:txBody>
          <a:bodyPr wrap="square" rtlCol="0">
            <a:spAutoFit/>
          </a:bodyPr>
          <a:lstStyle/>
          <a:p>
            <a:r>
              <a:rPr lang="en-US" dirty="0">
                <a:latin typeface="Candara" pitchFamily="34" charset="0"/>
              </a:rPr>
              <a:t>Customer-A</a:t>
            </a:r>
          </a:p>
        </p:txBody>
      </p:sp>
      <p:sp>
        <p:nvSpPr>
          <p:cNvPr id="11" name="TextBox 10">
            <a:extLst>
              <a:ext uri="{FF2B5EF4-FFF2-40B4-BE49-F238E27FC236}">
                <a16:creationId xmlns:a16="http://schemas.microsoft.com/office/drawing/2014/main" id="{A85201D4-6376-4F6A-BF23-B3786C159135}"/>
              </a:ext>
            </a:extLst>
          </p:cNvPr>
          <p:cNvSpPr txBox="1"/>
          <p:nvPr/>
        </p:nvSpPr>
        <p:spPr>
          <a:xfrm>
            <a:off x="4218385" y="2634190"/>
            <a:ext cx="1364343" cy="369332"/>
          </a:xfrm>
          <a:prstGeom prst="rect">
            <a:avLst/>
          </a:prstGeom>
          <a:noFill/>
        </p:spPr>
        <p:txBody>
          <a:bodyPr wrap="square" rtlCol="0">
            <a:spAutoFit/>
          </a:bodyPr>
          <a:lstStyle/>
          <a:p>
            <a:r>
              <a:rPr lang="en-US" dirty="0">
                <a:latin typeface="Candara" pitchFamily="34" charset="0"/>
              </a:rPr>
              <a:t>Customer-B</a:t>
            </a:r>
          </a:p>
        </p:txBody>
      </p:sp>
      <p:sp>
        <p:nvSpPr>
          <p:cNvPr id="12" name="TextBox 11">
            <a:extLst>
              <a:ext uri="{FF2B5EF4-FFF2-40B4-BE49-F238E27FC236}">
                <a16:creationId xmlns:a16="http://schemas.microsoft.com/office/drawing/2014/main" id="{3D2233D5-AE76-4ABE-8604-BF11ADB307BC}"/>
              </a:ext>
            </a:extLst>
          </p:cNvPr>
          <p:cNvSpPr txBox="1"/>
          <p:nvPr/>
        </p:nvSpPr>
        <p:spPr>
          <a:xfrm>
            <a:off x="6613243" y="2648705"/>
            <a:ext cx="1364343" cy="369332"/>
          </a:xfrm>
          <a:prstGeom prst="rect">
            <a:avLst/>
          </a:prstGeom>
          <a:noFill/>
        </p:spPr>
        <p:txBody>
          <a:bodyPr wrap="square" rtlCol="0">
            <a:spAutoFit/>
          </a:bodyPr>
          <a:lstStyle/>
          <a:p>
            <a:r>
              <a:rPr lang="en-US" dirty="0">
                <a:latin typeface="Candara" pitchFamily="34" charset="0"/>
              </a:rPr>
              <a:t>Customer-A</a:t>
            </a:r>
          </a:p>
        </p:txBody>
      </p:sp>
      <p:sp>
        <p:nvSpPr>
          <p:cNvPr id="13" name="TextBox 12">
            <a:extLst>
              <a:ext uri="{FF2B5EF4-FFF2-40B4-BE49-F238E27FC236}">
                <a16:creationId xmlns:a16="http://schemas.microsoft.com/office/drawing/2014/main" id="{567BA271-EC23-41AC-BF8E-10952E3DA24C}"/>
              </a:ext>
            </a:extLst>
          </p:cNvPr>
          <p:cNvSpPr txBox="1"/>
          <p:nvPr/>
        </p:nvSpPr>
        <p:spPr>
          <a:xfrm>
            <a:off x="8449300" y="2655962"/>
            <a:ext cx="1364343" cy="369332"/>
          </a:xfrm>
          <a:prstGeom prst="rect">
            <a:avLst/>
          </a:prstGeom>
          <a:noFill/>
        </p:spPr>
        <p:txBody>
          <a:bodyPr wrap="square" rtlCol="0">
            <a:spAutoFit/>
          </a:bodyPr>
          <a:lstStyle/>
          <a:p>
            <a:r>
              <a:rPr lang="en-US" dirty="0">
                <a:latin typeface="Candara" pitchFamily="34" charset="0"/>
              </a:rPr>
              <a:t>Customer-B</a:t>
            </a:r>
          </a:p>
        </p:txBody>
      </p:sp>
      <p:sp>
        <p:nvSpPr>
          <p:cNvPr id="14" name="Oval 13">
            <a:extLst>
              <a:ext uri="{FF2B5EF4-FFF2-40B4-BE49-F238E27FC236}">
                <a16:creationId xmlns:a16="http://schemas.microsoft.com/office/drawing/2014/main" id="{5D35D237-8DC0-4B36-B7AD-A19D621CDC91}"/>
              </a:ext>
            </a:extLst>
          </p:cNvPr>
          <p:cNvSpPr/>
          <p:nvPr/>
        </p:nvSpPr>
        <p:spPr>
          <a:xfrm>
            <a:off x="1410178" y="3642926"/>
            <a:ext cx="2108842" cy="595086"/>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Application</a:t>
            </a:r>
          </a:p>
        </p:txBody>
      </p:sp>
      <p:sp>
        <p:nvSpPr>
          <p:cNvPr id="15" name="Oval 14">
            <a:extLst>
              <a:ext uri="{FF2B5EF4-FFF2-40B4-BE49-F238E27FC236}">
                <a16:creationId xmlns:a16="http://schemas.microsoft.com/office/drawing/2014/main" id="{FE5E7D28-FD5A-4857-B573-6B5731DF7A16}"/>
              </a:ext>
            </a:extLst>
          </p:cNvPr>
          <p:cNvSpPr/>
          <p:nvPr/>
        </p:nvSpPr>
        <p:spPr>
          <a:xfrm>
            <a:off x="3700451" y="3621155"/>
            <a:ext cx="2220688" cy="595086"/>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Application</a:t>
            </a:r>
          </a:p>
        </p:txBody>
      </p:sp>
      <p:sp>
        <p:nvSpPr>
          <p:cNvPr id="16" name="Rounded Rectangle 62">
            <a:extLst>
              <a:ext uri="{FF2B5EF4-FFF2-40B4-BE49-F238E27FC236}">
                <a16:creationId xmlns:a16="http://schemas.microsoft.com/office/drawing/2014/main" id="{16DD062F-D353-4B2D-801D-323C8163CCFA}"/>
              </a:ext>
            </a:extLst>
          </p:cNvPr>
          <p:cNvSpPr/>
          <p:nvPr/>
        </p:nvSpPr>
        <p:spPr>
          <a:xfrm>
            <a:off x="1874329" y="5123381"/>
            <a:ext cx="1465943" cy="105954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DATA</a:t>
            </a:r>
          </a:p>
        </p:txBody>
      </p:sp>
      <p:sp>
        <p:nvSpPr>
          <p:cNvPr id="17" name="Rounded Rectangle 64">
            <a:extLst>
              <a:ext uri="{FF2B5EF4-FFF2-40B4-BE49-F238E27FC236}">
                <a16:creationId xmlns:a16="http://schemas.microsoft.com/office/drawing/2014/main" id="{6BFABFE8-A3CB-4CD8-B265-A7A5775491E8}"/>
              </a:ext>
            </a:extLst>
          </p:cNvPr>
          <p:cNvSpPr/>
          <p:nvPr/>
        </p:nvSpPr>
        <p:spPr>
          <a:xfrm>
            <a:off x="4319986" y="5145153"/>
            <a:ext cx="1465943" cy="105954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DATA</a:t>
            </a:r>
          </a:p>
        </p:txBody>
      </p:sp>
      <p:cxnSp>
        <p:nvCxnSpPr>
          <p:cNvPr id="18" name="Straight Arrow Connector 17">
            <a:extLst>
              <a:ext uri="{FF2B5EF4-FFF2-40B4-BE49-F238E27FC236}">
                <a16:creationId xmlns:a16="http://schemas.microsoft.com/office/drawing/2014/main" id="{2CB62649-03AC-4A8A-BAA4-D16776CC4485}"/>
              </a:ext>
            </a:extLst>
          </p:cNvPr>
          <p:cNvCxnSpPr>
            <a:stCxn id="10" idx="2"/>
          </p:cNvCxnSpPr>
          <p:nvPr/>
        </p:nvCxnSpPr>
        <p:spPr>
          <a:xfrm rot="16200000" flipH="1">
            <a:off x="2233167" y="3188969"/>
            <a:ext cx="545067" cy="145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4F9B836-BEC1-4755-A96B-E28BDCF2F684}"/>
              </a:ext>
            </a:extLst>
          </p:cNvPr>
          <p:cNvCxnSpPr/>
          <p:nvPr/>
        </p:nvCxnSpPr>
        <p:spPr>
          <a:xfrm rot="16200000" flipH="1">
            <a:off x="2225910" y="4647654"/>
            <a:ext cx="545067" cy="145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EFDF27B-1C3E-4C3C-9CEC-74C486839DAF}"/>
              </a:ext>
            </a:extLst>
          </p:cNvPr>
          <p:cNvCxnSpPr/>
          <p:nvPr/>
        </p:nvCxnSpPr>
        <p:spPr>
          <a:xfrm rot="16200000" flipH="1">
            <a:off x="4620767" y="3268798"/>
            <a:ext cx="545067" cy="145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455A923-83C8-4606-8441-887B05AFEC5B}"/>
              </a:ext>
            </a:extLst>
          </p:cNvPr>
          <p:cNvCxnSpPr/>
          <p:nvPr/>
        </p:nvCxnSpPr>
        <p:spPr>
          <a:xfrm rot="16200000" flipH="1">
            <a:off x="4722367" y="4633141"/>
            <a:ext cx="545067" cy="145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319726B6-2484-4185-A313-63A11E098E5E}"/>
              </a:ext>
            </a:extLst>
          </p:cNvPr>
          <p:cNvSpPr/>
          <p:nvPr/>
        </p:nvSpPr>
        <p:spPr>
          <a:xfrm>
            <a:off x="7190072" y="3759041"/>
            <a:ext cx="2326027" cy="595086"/>
          </a:xfrm>
          <a:prstGeom prst="ellipse">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Application</a:t>
            </a:r>
          </a:p>
        </p:txBody>
      </p:sp>
      <p:cxnSp>
        <p:nvCxnSpPr>
          <p:cNvPr id="23" name="Straight Arrow Connector 22">
            <a:extLst>
              <a:ext uri="{FF2B5EF4-FFF2-40B4-BE49-F238E27FC236}">
                <a16:creationId xmlns:a16="http://schemas.microsoft.com/office/drawing/2014/main" id="{F3225BE0-D986-4A77-9A67-97D424C5196B}"/>
              </a:ext>
            </a:extLst>
          </p:cNvPr>
          <p:cNvCxnSpPr>
            <a:cxnSpLocks/>
            <a:stCxn id="12" idx="2"/>
            <a:endCxn id="22" idx="0"/>
          </p:cNvCxnSpPr>
          <p:nvPr/>
        </p:nvCxnSpPr>
        <p:spPr>
          <a:xfrm>
            <a:off x="7295415" y="3018037"/>
            <a:ext cx="1057671" cy="7410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256A61-EFF2-464C-8CFA-78C221EACA21}"/>
              </a:ext>
            </a:extLst>
          </p:cNvPr>
          <p:cNvCxnSpPr>
            <a:cxnSpLocks/>
            <a:stCxn id="13" idx="2"/>
            <a:endCxn id="22" idx="0"/>
          </p:cNvCxnSpPr>
          <p:nvPr/>
        </p:nvCxnSpPr>
        <p:spPr>
          <a:xfrm flipH="1">
            <a:off x="8353086" y="3025294"/>
            <a:ext cx="778386" cy="73374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Rounded Rectangle 90">
            <a:extLst>
              <a:ext uri="{FF2B5EF4-FFF2-40B4-BE49-F238E27FC236}">
                <a16:creationId xmlns:a16="http://schemas.microsoft.com/office/drawing/2014/main" id="{1B24A901-CC24-4152-9A1A-4EE5FB6CB7D4}"/>
              </a:ext>
            </a:extLst>
          </p:cNvPr>
          <p:cNvSpPr/>
          <p:nvPr/>
        </p:nvSpPr>
        <p:spPr>
          <a:xfrm>
            <a:off x="6874500" y="5043552"/>
            <a:ext cx="1465943" cy="105954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DATA</a:t>
            </a:r>
          </a:p>
        </p:txBody>
      </p:sp>
      <p:sp>
        <p:nvSpPr>
          <p:cNvPr id="26" name="Rounded Rectangle 91">
            <a:extLst>
              <a:ext uri="{FF2B5EF4-FFF2-40B4-BE49-F238E27FC236}">
                <a16:creationId xmlns:a16="http://schemas.microsoft.com/office/drawing/2014/main" id="{7EC1E9D6-B7B8-4415-9F35-8F4B6ACC4CCB}"/>
              </a:ext>
            </a:extLst>
          </p:cNvPr>
          <p:cNvSpPr/>
          <p:nvPr/>
        </p:nvSpPr>
        <p:spPr>
          <a:xfrm>
            <a:off x="8623472" y="5050809"/>
            <a:ext cx="1465943" cy="105954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DATA</a:t>
            </a:r>
          </a:p>
        </p:txBody>
      </p:sp>
      <p:cxnSp>
        <p:nvCxnSpPr>
          <p:cNvPr id="27" name="Straight Arrow Connector 26">
            <a:extLst>
              <a:ext uri="{FF2B5EF4-FFF2-40B4-BE49-F238E27FC236}">
                <a16:creationId xmlns:a16="http://schemas.microsoft.com/office/drawing/2014/main" id="{88F647AD-F935-443A-A663-12FF7AFB6D98}"/>
              </a:ext>
            </a:extLst>
          </p:cNvPr>
          <p:cNvCxnSpPr>
            <a:cxnSpLocks/>
            <a:stCxn id="22" idx="4"/>
            <a:endCxn id="2" idx="0"/>
          </p:cNvCxnSpPr>
          <p:nvPr/>
        </p:nvCxnSpPr>
        <p:spPr>
          <a:xfrm flipH="1">
            <a:off x="8333188" y="4354127"/>
            <a:ext cx="19898" cy="3483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0681E0D-A62E-4403-9629-0721923B3B36}"/>
              </a:ext>
            </a:extLst>
          </p:cNvPr>
          <p:cNvSpPr txBox="1"/>
          <p:nvPr/>
        </p:nvSpPr>
        <p:spPr>
          <a:xfrm>
            <a:off x="798667" y="136506"/>
            <a:ext cx="10366408"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ingle-Tenant vs. Multi-Tenant Applications</a:t>
            </a:r>
          </a:p>
        </p:txBody>
      </p:sp>
    </p:spTree>
    <p:extLst>
      <p:ext uri="{BB962C8B-B14F-4D97-AF65-F5344CB8AC3E}">
        <p14:creationId xmlns:p14="http://schemas.microsoft.com/office/powerpoint/2010/main" val="34710939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aaS Advantage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1541985987"/>
              </p:ext>
            </p:extLst>
          </p:nvPr>
        </p:nvGraphicFramePr>
        <p:xfrm>
          <a:off x="915469" y="126090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75203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aaS Limitation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2220374724"/>
              </p:ext>
            </p:extLst>
          </p:nvPr>
        </p:nvGraphicFramePr>
        <p:xfrm>
          <a:off x="944344" y="107802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4544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74B42D-21D3-4FDF-9B61-F4545BBE2621}"/>
              </a:ext>
            </a:extLst>
          </p:cNvPr>
          <p:cNvSpPr txBox="1"/>
          <p:nvPr/>
        </p:nvSpPr>
        <p:spPr>
          <a:xfrm>
            <a:off x="312797" y="340509"/>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Lesson Objectives</a:t>
            </a:r>
          </a:p>
        </p:txBody>
      </p:sp>
      <p:sp>
        <p:nvSpPr>
          <p:cNvPr id="5" name="TextBox 4">
            <a:extLst>
              <a:ext uri="{FF2B5EF4-FFF2-40B4-BE49-F238E27FC236}">
                <a16:creationId xmlns:a16="http://schemas.microsoft.com/office/drawing/2014/main" id="{FC352D2A-9B63-4F38-B84C-B9A5F22A57AF}"/>
              </a:ext>
            </a:extLst>
          </p:cNvPr>
          <p:cNvSpPr txBox="1"/>
          <p:nvPr/>
        </p:nvSpPr>
        <p:spPr>
          <a:xfrm>
            <a:off x="312797" y="1372336"/>
            <a:ext cx="10288941" cy="3046988"/>
          </a:xfrm>
          <a:prstGeom prst="rect">
            <a:avLst/>
          </a:prstGeom>
          <a:noFill/>
        </p:spPr>
        <p:txBody>
          <a:bodyPr wrap="square" rtlCol="0">
            <a:spAutoFit/>
          </a:bodyPr>
          <a:lstStyle/>
          <a:p>
            <a:pPr algn="just">
              <a:lnSpc>
                <a:spcPct val="150000"/>
              </a:lnSpc>
            </a:pPr>
            <a:r>
              <a:rPr lang="en-US" sz="2400" dirty="0"/>
              <a:t>At the end of this module you will be able to:</a:t>
            </a:r>
          </a:p>
          <a:p>
            <a:pPr marL="800100" lvl="1" indent="-342900">
              <a:lnSpc>
                <a:spcPct val="150000"/>
              </a:lnSpc>
              <a:buFont typeface="Wingdings" panose="05000000000000000000" pitchFamily="2" charset="2"/>
              <a:buChar char="ü"/>
            </a:pPr>
            <a:r>
              <a:rPr lang="en-US" sz="2000" dirty="0"/>
              <a:t>Understand the fundamentals Cloud Computing</a:t>
            </a:r>
          </a:p>
          <a:p>
            <a:pPr marL="800100" lvl="1" indent="-342900">
              <a:lnSpc>
                <a:spcPct val="150000"/>
              </a:lnSpc>
              <a:buFont typeface="Wingdings" panose="05000000000000000000" pitchFamily="2" charset="2"/>
              <a:buChar char="ü"/>
            </a:pPr>
            <a:r>
              <a:rPr lang="en-US" sz="2000" dirty="0"/>
              <a:t>Get an overview of cloud applications, cloud platform and private cloud</a:t>
            </a:r>
          </a:p>
          <a:p>
            <a:pPr marL="800100" lvl="1" indent="-342900">
              <a:lnSpc>
                <a:spcPct val="150000"/>
              </a:lnSpc>
              <a:buFont typeface="Wingdings" panose="05000000000000000000" pitchFamily="2" charset="2"/>
              <a:buChar char="ü"/>
            </a:pPr>
            <a:r>
              <a:rPr lang="en-US" sz="2000" dirty="0"/>
              <a:t>Understand the difference between SaaS, PaaS and IaaS</a:t>
            </a:r>
          </a:p>
          <a:p>
            <a:pPr marL="800100" lvl="1" indent="-342900">
              <a:lnSpc>
                <a:spcPct val="150000"/>
              </a:lnSpc>
              <a:buFont typeface="Wingdings" panose="05000000000000000000" pitchFamily="2" charset="2"/>
              <a:buChar char="ü"/>
            </a:pPr>
            <a:r>
              <a:rPr lang="en-US" sz="2000" dirty="0"/>
              <a:t>List out the benefits and limitations of SaaS, PaaS and IaaS</a:t>
            </a:r>
          </a:p>
          <a:p>
            <a:pPr marL="800100" lvl="1" indent="-342900">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38259128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Platform</a:t>
            </a:r>
          </a:p>
        </p:txBody>
      </p:sp>
      <p:sp>
        <p:nvSpPr>
          <p:cNvPr id="5" name="TextBox 4">
            <a:extLst>
              <a:ext uri="{FF2B5EF4-FFF2-40B4-BE49-F238E27FC236}">
                <a16:creationId xmlns:a16="http://schemas.microsoft.com/office/drawing/2014/main" id="{D472B14B-8BDC-469C-B41B-B9957CAA843D}"/>
              </a:ext>
            </a:extLst>
          </p:cNvPr>
          <p:cNvSpPr txBox="1"/>
          <p:nvPr/>
        </p:nvSpPr>
        <p:spPr>
          <a:xfrm>
            <a:off x="577516" y="1328286"/>
            <a:ext cx="11223057" cy="5003614"/>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Cloud platform provides an environment with that developers can build applications on that and users can then use it</a:t>
            </a:r>
          </a:p>
          <a:p>
            <a:pPr marL="342900" indent="-342900" algn="just">
              <a:lnSpc>
                <a:spcPct val="150000"/>
              </a:lnSpc>
              <a:buFont typeface="Arial" panose="020B0604020202020204" pitchFamily="34" charset="0"/>
              <a:buChar char="•"/>
            </a:pPr>
            <a:r>
              <a:rPr lang="en-US" sz="2400" dirty="0"/>
              <a:t>Cloud platform is a platform not an application. It allows developers to create application, run applications, store data and more</a:t>
            </a:r>
          </a:p>
          <a:p>
            <a:pPr marL="342900" indent="-342900" algn="just">
              <a:lnSpc>
                <a:spcPct val="150000"/>
              </a:lnSpc>
              <a:buFont typeface="Arial" panose="020B0604020202020204" pitchFamily="34" charset="0"/>
              <a:buChar char="•"/>
            </a:pPr>
            <a:r>
              <a:rPr lang="en-US" sz="2400" dirty="0"/>
              <a:t>Cloud platform provides self service access to resources such as a virtual machine , storage , service  through a browser interface</a:t>
            </a:r>
          </a:p>
          <a:p>
            <a:pPr marL="342900" indent="-342900" algn="just">
              <a:lnSpc>
                <a:spcPct val="150000"/>
              </a:lnSpc>
              <a:buFont typeface="Arial" panose="020B0604020202020204" pitchFamily="34" charset="0"/>
              <a:buChar char="•"/>
            </a:pPr>
            <a:r>
              <a:rPr lang="en-US" sz="2400" dirty="0"/>
              <a:t>Cloud platform allows us charging only for the resources an application uses. i.e. we can use a VM for an hour or Giga bytes of storage for a day</a:t>
            </a:r>
          </a:p>
        </p:txBody>
      </p:sp>
    </p:spTree>
    <p:extLst>
      <p:ext uri="{BB962C8B-B14F-4D97-AF65-F5344CB8AC3E}">
        <p14:creationId xmlns:p14="http://schemas.microsoft.com/office/powerpoint/2010/main" val="6625176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Platform categories</a:t>
            </a:r>
          </a:p>
        </p:txBody>
      </p:sp>
      <p:grpSp>
        <p:nvGrpSpPr>
          <p:cNvPr id="11" name="Group 10">
            <a:extLst>
              <a:ext uri="{FF2B5EF4-FFF2-40B4-BE49-F238E27FC236}">
                <a16:creationId xmlns:a16="http://schemas.microsoft.com/office/drawing/2014/main" id="{BEE67D7D-0708-454A-9119-8D80A6C95D65}"/>
              </a:ext>
            </a:extLst>
          </p:cNvPr>
          <p:cNvGrpSpPr/>
          <p:nvPr/>
        </p:nvGrpSpPr>
        <p:grpSpPr>
          <a:xfrm>
            <a:off x="240227" y="1126156"/>
            <a:ext cx="12634097" cy="5358688"/>
            <a:chOff x="240227" y="1126156"/>
            <a:chExt cx="12634097" cy="5358688"/>
          </a:xfrm>
        </p:grpSpPr>
        <p:graphicFrame>
          <p:nvGraphicFramePr>
            <p:cNvPr id="2" name="Diagram 1">
              <a:extLst>
                <a:ext uri="{FF2B5EF4-FFF2-40B4-BE49-F238E27FC236}">
                  <a16:creationId xmlns:a16="http://schemas.microsoft.com/office/drawing/2014/main" id="{F584F305-5FEF-4AE3-8879-994132F8947C}"/>
                </a:ext>
              </a:extLst>
            </p:cNvPr>
            <p:cNvGraphicFramePr/>
            <p:nvPr>
              <p:extLst>
                <p:ext uri="{D42A27DB-BD31-4B8C-83A1-F6EECF244321}">
                  <p14:modId xmlns:p14="http://schemas.microsoft.com/office/powerpoint/2010/main" val="2424397766"/>
                </p:ext>
              </p:extLst>
            </p:nvPr>
          </p:nvGraphicFramePr>
          <p:xfrm>
            <a:off x="3394509" y="1126156"/>
            <a:ext cx="9479815" cy="5358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Arrow: Chevron 2">
              <a:extLst>
                <a:ext uri="{FF2B5EF4-FFF2-40B4-BE49-F238E27FC236}">
                  <a16:creationId xmlns:a16="http://schemas.microsoft.com/office/drawing/2014/main" id="{49870653-EFF3-4C31-A11F-44432BAD3445}"/>
                </a:ext>
              </a:extLst>
            </p:cNvPr>
            <p:cNvSpPr/>
            <p:nvPr/>
          </p:nvSpPr>
          <p:spPr>
            <a:xfrm flipH="1" flipV="1">
              <a:off x="4350620" y="1945338"/>
              <a:ext cx="529389" cy="277059"/>
            </a:xfrm>
            <a:prstGeom prst="chevron">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a:extLst>
                <a:ext uri="{FF2B5EF4-FFF2-40B4-BE49-F238E27FC236}">
                  <a16:creationId xmlns:a16="http://schemas.microsoft.com/office/drawing/2014/main" id="{E03A1D56-1FD7-445E-A666-ED406FE659DE}"/>
                </a:ext>
              </a:extLst>
            </p:cNvPr>
            <p:cNvSpPr/>
            <p:nvPr/>
          </p:nvSpPr>
          <p:spPr>
            <a:xfrm>
              <a:off x="240227" y="1883812"/>
              <a:ext cx="4148893" cy="400110"/>
            </a:xfrm>
            <a:prstGeom prst="rect">
              <a:avLst/>
            </a:prstGeom>
            <a:noFill/>
            <a:effectLst/>
          </p:spPr>
          <p:txBody>
            <a:bodyPr wrap="none" lIns="91440" tIns="45720" rIns="91440" bIns="45720">
              <a:spAutoFit/>
            </a:bodyPr>
            <a:lstStyle/>
            <a:p>
              <a:pPr algn="ctr"/>
              <a:r>
                <a:rPr lang="en-US" sz="2000" b="1" dirty="0">
                  <a:ln w="0"/>
                  <a:solidFill>
                    <a:schemeClr val="accent1"/>
                  </a:solidFill>
                  <a:effectLst>
                    <a:outerShdw blurRad="38100" dist="25400" dir="5400000" algn="ctr" rotWithShape="0">
                      <a:srgbClr val="6E747A">
                        <a:alpha val="43000"/>
                      </a:srgbClr>
                    </a:outerShdw>
                  </a:effectLst>
                </a:rPr>
                <a:t>Infrastructure as a Service </a:t>
              </a:r>
              <a:endParaRPr lang="en-US" sz="2000" b="1" cap="none" spc="0" dirty="0">
                <a:ln w="0"/>
                <a:solidFill>
                  <a:schemeClr val="accent1"/>
                </a:solidFill>
                <a:effectLst>
                  <a:outerShdw blurRad="38100" dist="25400" dir="5400000" algn="ctr" rotWithShape="0">
                    <a:srgbClr val="6E747A">
                      <a:alpha val="43000"/>
                    </a:srgbClr>
                  </a:outerShdw>
                </a:effectLst>
              </a:endParaRPr>
            </a:p>
          </p:txBody>
        </p:sp>
        <p:sp>
          <p:nvSpPr>
            <p:cNvPr id="9" name="Rectangle 8">
              <a:extLst>
                <a:ext uri="{FF2B5EF4-FFF2-40B4-BE49-F238E27FC236}">
                  <a16:creationId xmlns:a16="http://schemas.microsoft.com/office/drawing/2014/main" id="{37519D20-8A37-4389-92BC-A8879A614D4D}"/>
                </a:ext>
              </a:extLst>
            </p:cNvPr>
            <p:cNvSpPr/>
            <p:nvPr/>
          </p:nvSpPr>
          <p:spPr>
            <a:xfrm>
              <a:off x="1051347" y="5270208"/>
              <a:ext cx="3337773" cy="400110"/>
            </a:xfrm>
            <a:prstGeom prst="rect">
              <a:avLst/>
            </a:prstGeom>
            <a:noFill/>
            <a:effectLst/>
          </p:spPr>
          <p:txBody>
            <a:bodyPr wrap="none" lIns="91440" tIns="45720" rIns="91440" bIns="45720">
              <a:spAutoFit/>
            </a:bodyPr>
            <a:lstStyle/>
            <a:p>
              <a:pPr algn="ctr"/>
              <a:r>
                <a:rPr lang="en-US" sz="2000" b="1" dirty="0">
                  <a:ln w="0"/>
                  <a:solidFill>
                    <a:schemeClr val="accent1"/>
                  </a:solidFill>
                  <a:effectLst>
                    <a:outerShdw blurRad="38100" dist="25400" dir="5400000" algn="ctr" rotWithShape="0">
                      <a:srgbClr val="6E747A">
                        <a:alpha val="43000"/>
                      </a:srgbClr>
                    </a:outerShdw>
                  </a:effectLst>
                </a:rPr>
                <a:t>Platform as a Service </a:t>
              </a:r>
              <a:endParaRPr lang="en-US" sz="2000" b="1" cap="none" spc="0" dirty="0">
                <a:ln w="0"/>
                <a:solidFill>
                  <a:schemeClr val="accent1"/>
                </a:solidFill>
                <a:effectLst>
                  <a:outerShdw blurRad="38100" dist="25400" dir="5400000" algn="ctr" rotWithShape="0">
                    <a:srgbClr val="6E747A">
                      <a:alpha val="43000"/>
                    </a:srgbClr>
                  </a:outerShdw>
                </a:effectLst>
              </a:endParaRPr>
            </a:p>
          </p:txBody>
        </p:sp>
        <p:sp>
          <p:nvSpPr>
            <p:cNvPr id="10" name="Arrow: Chevron 9">
              <a:extLst>
                <a:ext uri="{FF2B5EF4-FFF2-40B4-BE49-F238E27FC236}">
                  <a16:creationId xmlns:a16="http://schemas.microsoft.com/office/drawing/2014/main" id="{D43DF12D-A151-4FE4-9B6D-8EA3B9B16D7E}"/>
                </a:ext>
              </a:extLst>
            </p:cNvPr>
            <p:cNvSpPr/>
            <p:nvPr/>
          </p:nvSpPr>
          <p:spPr>
            <a:xfrm flipH="1" flipV="1">
              <a:off x="4389120" y="5331734"/>
              <a:ext cx="529389" cy="277059"/>
            </a:xfrm>
            <a:prstGeom prst="chevron">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550788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607996" y="173279"/>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IaaS vs PaaS</a:t>
            </a:r>
          </a:p>
        </p:txBody>
      </p:sp>
      <p:graphicFrame>
        <p:nvGraphicFramePr>
          <p:cNvPr id="3" name="Table 2"/>
          <p:cNvGraphicFramePr>
            <a:graphicFrameLocks noGrp="1"/>
          </p:cNvGraphicFramePr>
          <p:nvPr>
            <p:extLst>
              <p:ext uri="{D42A27DB-BD31-4B8C-83A1-F6EECF244321}">
                <p14:modId xmlns:p14="http://schemas.microsoft.com/office/powerpoint/2010/main" val="4148438564"/>
              </p:ext>
            </p:extLst>
          </p:nvPr>
        </p:nvGraphicFramePr>
        <p:xfrm>
          <a:off x="773043" y="1276255"/>
          <a:ext cx="10411792" cy="4448685"/>
        </p:xfrm>
        <a:graphic>
          <a:graphicData uri="http://schemas.openxmlformats.org/drawingml/2006/table">
            <a:tbl>
              <a:tblPr firstRow="1" bandRow="1">
                <a:tableStyleId>{5C22544A-7EE6-4342-B048-85BDC9FD1C3A}</a:tableStyleId>
              </a:tblPr>
              <a:tblGrid>
                <a:gridCol w="5205896">
                  <a:extLst>
                    <a:ext uri="{9D8B030D-6E8A-4147-A177-3AD203B41FA5}">
                      <a16:colId xmlns:a16="http://schemas.microsoft.com/office/drawing/2014/main" val="20000"/>
                    </a:ext>
                  </a:extLst>
                </a:gridCol>
                <a:gridCol w="5205896">
                  <a:extLst>
                    <a:ext uri="{9D8B030D-6E8A-4147-A177-3AD203B41FA5}">
                      <a16:colId xmlns:a16="http://schemas.microsoft.com/office/drawing/2014/main" val="20001"/>
                    </a:ext>
                  </a:extLst>
                </a:gridCol>
              </a:tblGrid>
              <a:tr h="889737">
                <a:tc>
                  <a:txBody>
                    <a:bodyPr/>
                    <a:lstStyle/>
                    <a:p>
                      <a:pPr algn="ctr"/>
                      <a:r>
                        <a:rPr lang="en-US" dirty="0" err="1"/>
                        <a:t>IaaS</a:t>
                      </a:r>
                      <a:endParaRPr lang="en-US" dirty="0"/>
                    </a:p>
                  </a:txBody>
                  <a:tcPr anchor="ctr"/>
                </a:tc>
                <a:tc>
                  <a:txBody>
                    <a:bodyPr/>
                    <a:lstStyle/>
                    <a:p>
                      <a:pPr algn="ctr"/>
                      <a:r>
                        <a:rPr lang="en-US" dirty="0" err="1"/>
                        <a:t>PaaS</a:t>
                      </a:r>
                      <a:endParaRPr lang="en-US" dirty="0"/>
                    </a:p>
                  </a:txBody>
                  <a:tcPr anchor="ctr"/>
                </a:tc>
                <a:extLst>
                  <a:ext uri="{0D108BD9-81ED-4DB2-BD59-A6C34878D82A}">
                    <a16:rowId xmlns:a16="http://schemas.microsoft.com/office/drawing/2014/main" val="10000"/>
                  </a:ext>
                </a:extLst>
              </a:tr>
              <a:tr h="889737">
                <a:tc>
                  <a:txBody>
                    <a:bodyPr/>
                    <a:lstStyle/>
                    <a:p>
                      <a:r>
                        <a:rPr lang="en-US" dirty="0"/>
                        <a:t>Higher degree of contro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ower degree of control</a:t>
                      </a:r>
                    </a:p>
                    <a:p>
                      <a:endParaRPr lang="en-US" dirty="0"/>
                    </a:p>
                  </a:txBody>
                  <a:tcPr anchor="ctr"/>
                </a:tc>
                <a:extLst>
                  <a:ext uri="{0D108BD9-81ED-4DB2-BD59-A6C34878D82A}">
                    <a16:rowId xmlns:a16="http://schemas.microsoft.com/office/drawing/2014/main" val="10001"/>
                  </a:ext>
                </a:extLst>
              </a:tr>
              <a:tr h="889737">
                <a:tc>
                  <a:txBody>
                    <a:bodyPr/>
                    <a:lstStyle/>
                    <a:p>
                      <a:r>
                        <a:rPr lang="en-US" dirty="0"/>
                        <a:t>Higher support for legacy apps</a:t>
                      </a:r>
                    </a:p>
                  </a:txBody>
                  <a:tcPr anchor="ctr"/>
                </a:tc>
                <a:tc>
                  <a:txBody>
                    <a:bodyPr/>
                    <a:lstStyle/>
                    <a:p>
                      <a:r>
                        <a:rPr lang="en-US" dirty="0"/>
                        <a:t>Lower support for legacy apps</a:t>
                      </a:r>
                    </a:p>
                  </a:txBody>
                  <a:tcPr anchor="ctr"/>
                </a:tc>
                <a:extLst>
                  <a:ext uri="{0D108BD9-81ED-4DB2-BD59-A6C34878D82A}">
                    <a16:rowId xmlns:a16="http://schemas.microsoft.com/office/drawing/2014/main" val="10002"/>
                  </a:ext>
                </a:extLst>
              </a:tr>
              <a:tr h="889737">
                <a:tc>
                  <a:txBody>
                    <a:bodyPr/>
                    <a:lstStyle/>
                    <a:p>
                      <a:r>
                        <a:rPr lang="en-US" dirty="0"/>
                        <a:t>Lower ease of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gher ease of management</a:t>
                      </a:r>
                    </a:p>
                    <a:p>
                      <a:endParaRPr lang="en-US" dirty="0"/>
                    </a:p>
                  </a:txBody>
                  <a:tcPr anchor="ctr"/>
                </a:tc>
                <a:extLst>
                  <a:ext uri="{0D108BD9-81ED-4DB2-BD59-A6C34878D82A}">
                    <a16:rowId xmlns:a16="http://schemas.microsoft.com/office/drawing/2014/main" val="10003"/>
                  </a:ext>
                </a:extLst>
              </a:tr>
              <a:tr h="889737">
                <a:tc>
                  <a:txBody>
                    <a:bodyPr/>
                    <a:lstStyle/>
                    <a:p>
                      <a:r>
                        <a:rPr lang="en-US" dirty="0"/>
                        <a:t>Lower agilit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gher agility</a:t>
                      </a:r>
                    </a:p>
                    <a:p>
                      <a:endParaRPr lang="en-US" dirty="0"/>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121400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D0D373C-B9EB-4D70-BD81-DA49B486A893}"/>
              </a:ext>
            </a:extLst>
          </p:cNvPr>
          <p:cNvPicPr>
            <a:picLocks noChangeAspect="1" noChangeArrowheads="1"/>
          </p:cNvPicPr>
          <p:nvPr/>
        </p:nvPicPr>
        <p:blipFill>
          <a:blip r:embed="rId3"/>
          <a:srcRect/>
          <a:stretch>
            <a:fillRect/>
          </a:stretch>
        </p:blipFill>
        <p:spPr bwMode="auto">
          <a:xfrm>
            <a:off x="1720740" y="1183912"/>
            <a:ext cx="8120600" cy="4840968"/>
          </a:xfrm>
          <a:prstGeom prst="rect">
            <a:avLst/>
          </a:prstGeom>
          <a:noFill/>
          <a:ln w="9525">
            <a:noFill/>
            <a:miter lim="800000"/>
            <a:headEnd/>
            <a:tailEnd/>
          </a:ln>
          <a:effectLst/>
        </p:spPr>
      </p:pic>
      <p:sp>
        <p:nvSpPr>
          <p:cNvPr id="4" name="TextBox 3">
            <a:extLst>
              <a:ext uri="{FF2B5EF4-FFF2-40B4-BE49-F238E27FC236}">
                <a16:creationId xmlns:a16="http://schemas.microsoft.com/office/drawing/2014/main" id="{9916D071-3516-459D-B7C6-34B0F59D298C}"/>
              </a:ext>
            </a:extLst>
          </p:cNvPr>
          <p:cNvSpPr txBox="1"/>
          <p:nvPr/>
        </p:nvSpPr>
        <p:spPr>
          <a:xfrm>
            <a:off x="1658982" y="6045200"/>
            <a:ext cx="4122058" cy="369332"/>
          </a:xfrm>
          <a:prstGeom prst="rect">
            <a:avLst/>
          </a:prstGeom>
          <a:noFill/>
        </p:spPr>
        <p:txBody>
          <a:bodyPr wrap="square" rtlCol="0">
            <a:spAutoFit/>
          </a:bodyPr>
          <a:lstStyle/>
          <a:p>
            <a:r>
              <a:rPr lang="en-US" b="1" dirty="0"/>
              <a:t>Source</a:t>
            </a:r>
            <a:r>
              <a:rPr lang="en-US" dirty="0"/>
              <a:t> : channel9.msdn.com</a:t>
            </a:r>
          </a:p>
        </p:txBody>
      </p:sp>
      <p:sp>
        <p:nvSpPr>
          <p:cNvPr id="5" name="TextBox 4">
            <a:extLst>
              <a:ext uri="{FF2B5EF4-FFF2-40B4-BE49-F238E27FC236}">
                <a16:creationId xmlns:a16="http://schemas.microsoft.com/office/drawing/2014/main" id="{AA5F5BA9-4A8B-443A-9FFA-5E91AD1690B0}"/>
              </a:ext>
            </a:extLst>
          </p:cNvPr>
          <p:cNvSpPr txBox="1"/>
          <p:nvPr/>
        </p:nvSpPr>
        <p:spPr>
          <a:xfrm>
            <a:off x="171116" y="164510"/>
            <a:ext cx="11208084"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etting-up an Application on IaaS Environment</a:t>
            </a:r>
          </a:p>
        </p:txBody>
      </p:sp>
    </p:spTree>
    <p:extLst>
      <p:ext uri="{BB962C8B-B14F-4D97-AF65-F5344CB8AC3E}">
        <p14:creationId xmlns:p14="http://schemas.microsoft.com/office/powerpoint/2010/main" val="36590873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916D071-3516-459D-B7C6-34B0F59D298C}"/>
              </a:ext>
            </a:extLst>
          </p:cNvPr>
          <p:cNvSpPr txBox="1"/>
          <p:nvPr/>
        </p:nvSpPr>
        <p:spPr>
          <a:xfrm>
            <a:off x="2288902" y="6045200"/>
            <a:ext cx="4122058" cy="369332"/>
          </a:xfrm>
          <a:prstGeom prst="rect">
            <a:avLst/>
          </a:prstGeom>
          <a:noFill/>
        </p:spPr>
        <p:txBody>
          <a:bodyPr wrap="square" rtlCol="0">
            <a:spAutoFit/>
          </a:bodyPr>
          <a:lstStyle/>
          <a:p>
            <a:r>
              <a:rPr lang="en-US" b="1" dirty="0"/>
              <a:t>Source</a:t>
            </a:r>
            <a:r>
              <a:rPr lang="en-US" dirty="0"/>
              <a:t> : channel9.msdn.com</a:t>
            </a:r>
          </a:p>
        </p:txBody>
      </p:sp>
      <p:sp>
        <p:nvSpPr>
          <p:cNvPr id="5" name="TextBox 4">
            <a:extLst>
              <a:ext uri="{FF2B5EF4-FFF2-40B4-BE49-F238E27FC236}">
                <a16:creationId xmlns:a16="http://schemas.microsoft.com/office/drawing/2014/main" id="{AA5F5BA9-4A8B-443A-9FFA-5E91AD1690B0}"/>
              </a:ext>
            </a:extLst>
          </p:cNvPr>
          <p:cNvSpPr txBox="1"/>
          <p:nvPr/>
        </p:nvSpPr>
        <p:spPr>
          <a:xfrm>
            <a:off x="171116" y="164510"/>
            <a:ext cx="11208084"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etting-up an Application on PaaS Environment</a:t>
            </a:r>
          </a:p>
        </p:txBody>
      </p:sp>
      <p:pic>
        <p:nvPicPr>
          <p:cNvPr id="6" name="Picture 2">
            <a:extLst>
              <a:ext uri="{FF2B5EF4-FFF2-40B4-BE49-F238E27FC236}">
                <a16:creationId xmlns:a16="http://schemas.microsoft.com/office/drawing/2014/main" id="{1DB7F054-1AF3-428D-8F0B-92A63F563D4B}"/>
              </a:ext>
            </a:extLst>
          </p:cNvPr>
          <p:cNvPicPr>
            <a:picLocks noChangeAspect="1" noChangeArrowheads="1"/>
          </p:cNvPicPr>
          <p:nvPr/>
        </p:nvPicPr>
        <p:blipFill>
          <a:blip r:embed="rId3"/>
          <a:srcRect/>
          <a:stretch>
            <a:fillRect/>
          </a:stretch>
        </p:blipFill>
        <p:spPr bwMode="auto">
          <a:xfrm>
            <a:off x="2256971" y="1233243"/>
            <a:ext cx="7678057" cy="4811957"/>
          </a:xfrm>
          <a:prstGeom prst="rect">
            <a:avLst/>
          </a:prstGeom>
          <a:noFill/>
          <a:ln w="9525">
            <a:noFill/>
            <a:miter lim="800000"/>
            <a:headEnd/>
            <a:tailEnd/>
          </a:ln>
          <a:effectLst/>
        </p:spPr>
      </p:pic>
    </p:spTree>
    <p:extLst>
      <p:ext uri="{BB962C8B-B14F-4D97-AF65-F5344CB8AC3E}">
        <p14:creationId xmlns:p14="http://schemas.microsoft.com/office/powerpoint/2010/main" val="1363097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IaaS Advantage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2806997742"/>
              </p:ext>
            </p:extLst>
          </p:nvPr>
        </p:nvGraphicFramePr>
        <p:xfrm>
          <a:off x="915469" y="126090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89318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IaaS Limitation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3385436802"/>
              </p:ext>
            </p:extLst>
          </p:nvPr>
        </p:nvGraphicFramePr>
        <p:xfrm>
          <a:off x="944344" y="107802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966383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PaaS Advantage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2595570286"/>
              </p:ext>
            </p:extLst>
          </p:nvPr>
        </p:nvGraphicFramePr>
        <p:xfrm>
          <a:off x="915469" y="126090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98137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PaaS Limitations</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69288577"/>
              </p:ext>
            </p:extLst>
          </p:nvPr>
        </p:nvGraphicFramePr>
        <p:xfrm>
          <a:off x="944344" y="1078029"/>
          <a:ext cx="10124708" cy="5163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16275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Introduction to Private Cloud</a:t>
            </a:r>
          </a:p>
        </p:txBody>
      </p:sp>
      <p:sp>
        <p:nvSpPr>
          <p:cNvPr id="5" name="TextBox 4">
            <a:extLst>
              <a:ext uri="{FF2B5EF4-FFF2-40B4-BE49-F238E27FC236}">
                <a16:creationId xmlns:a16="http://schemas.microsoft.com/office/drawing/2014/main" id="{D472B14B-8BDC-469C-B41B-B9957CAA843D}"/>
              </a:ext>
            </a:extLst>
          </p:cNvPr>
          <p:cNvSpPr txBox="1"/>
          <p:nvPr/>
        </p:nvSpPr>
        <p:spPr>
          <a:xfrm>
            <a:off x="484471" y="1088634"/>
            <a:ext cx="11223057" cy="5557612"/>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Private cloud infrastructure is a dedicated infrastructure provided to a single organization or client</a:t>
            </a:r>
          </a:p>
          <a:p>
            <a:pPr marL="342900" indent="-342900" algn="just">
              <a:lnSpc>
                <a:spcPct val="150000"/>
              </a:lnSpc>
              <a:buFont typeface="Arial" panose="020B0604020202020204" pitchFamily="34" charset="0"/>
              <a:buChar char="•"/>
            </a:pPr>
            <a:r>
              <a:rPr lang="en-US" sz="2400" dirty="0"/>
              <a:t>Deployed inside firewalls and offer robust IT security for the organization</a:t>
            </a:r>
          </a:p>
          <a:p>
            <a:pPr marL="342900" indent="-342900" algn="just">
              <a:lnSpc>
                <a:spcPct val="150000"/>
              </a:lnSpc>
              <a:buFont typeface="Arial" panose="020B0604020202020204" pitchFamily="34" charset="0"/>
              <a:buChar char="•"/>
            </a:pPr>
            <a:r>
              <a:rPr lang="en-US" sz="2400" dirty="0"/>
              <a:t>Companies also pay third-party service providers to host their private cloud</a:t>
            </a:r>
          </a:p>
          <a:p>
            <a:pPr marL="342900" indent="-342900" algn="just">
              <a:lnSpc>
                <a:spcPct val="150000"/>
              </a:lnSpc>
              <a:buFont typeface="Arial" panose="020B0604020202020204" pitchFamily="34" charset="0"/>
              <a:buChar char="•"/>
            </a:pPr>
            <a:r>
              <a:rPr lang="en-US" sz="2400" dirty="0"/>
              <a:t>Using Private clouds VM admin in an organization can create a predefined services with predefined users, access rights, and quotas so that it will be immediately available to IT user as soon as they make the request</a:t>
            </a:r>
          </a:p>
        </p:txBody>
      </p:sp>
    </p:spTree>
    <p:extLst>
      <p:ext uri="{BB962C8B-B14F-4D97-AF65-F5344CB8AC3E}">
        <p14:creationId xmlns:p14="http://schemas.microsoft.com/office/powerpoint/2010/main" val="120342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E55AC2-1A16-D0FD-A49F-E478EA9A04BB}"/>
              </a:ext>
            </a:extLst>
          </p:cNvPr>
          <p:cNvSpPr>
            <a:spLocks noGrp="1"/>
          </p:cNvSpPr>
          <p:nvPr>
            <p:ph idx="1"/>
          </p:nvPr>
        </p:nvSpPr>
        <p:spPr/>
        <p:txBody>
          <a:bodyPr/>
          <a:lstStyle/>
          <a:p>
            <a:r>
              <a:rPr lang="en-US" b="0" i="0" dirty="0">
                <a:solidFill>
                  <a:srgbClr val="000000"/>
                </a:solidFill>
                <a:effectLst/>
                <a:latin typeface="Noto Sans JP"/>
              </a:rPr>
              <a:t>A traditional IT infrastructure is made up of standard hardware resources and software components: facilities, data center, server, networking hardware computers, and enterprise application software solutions</a:t>
            </a:r>
          </a:p>
          <a:p>
            <a:endParaRPr lang="en-US" dirty="0">
              <a:solidFill>
                <a:srgbClr val="000000"/>
              </a:solidFill>
              <a:latin typeface="Noto Sans JP"/>
            </a:endParaRPr>
          </a:p>
          <a:p>
            <a:endParaRPr lang="en-US" dirty="0"/>
          </a:p>
        </p:txBody>
      </p:sp>
      <p:sp>
        <p:nvSpPr>
          <p:cNvPr id="3" name="Title 2">
            <a:extLst>
              <a:ext uri="{FF2B5EF4-FFF2-40B4-BE49-F238E27FC236}">
                <a16:creationId xmlns:a16="http://schemas.microsoft.com/office/drawing/2014/main" id="{990037F9-4A32-E8B1-0830-F36EC7790C34}"/>
              </a:ext>
            </a:extLst>
          </p:cNvPr>
          <p:cNvSpPr>
            <a:spLocks noGrp="1"/>
          </p:cNvSpPr>
          <p:nvPr>
            <p:ph type="title"/>
          </p:nvPr>
        </p:nvSpPr>
        <p:spPr/>
        <p:txBody>
          <a:bodyPr>
            <a:normAutofit fontScale="90000"/>
          </a:bodyPr>
          <a:lstStyle/>
          <a:p>
            <a:r>
              <a:rPr lang="en-US" b="1" i="0" dirty="0">
                <a:solidFill>
                  <a:srgbClr val="333333"/>
                </a:solidFill>
                <a:effectLst/>
                <a:latin typeface="Poppins" panose="00000500000000000000" pitchFamily="2" charset="0"/>
              </a:rPr>
              <a:t>What is Traditional Architecture?</a:t>
            </a:r>
            <a:br>
              <a:rPr lang="en-US" b="1" i="0" dirty="0">
                <a:solidFill>
                  <a:srgbClr val="333333"/>
                </a:solidFill>
                <a:effectLst/>
                <a:latin typeface="Poppins" panose="00000500000000000000" pitchFamily="2" charset="0"/>
              </a:rPr>
            </a:br>
            <a:endParaRPr lang="en-US" dirty="0"/>
          </a:p>
        </p:txBody>
      </p:sp>
      <p:pic>
        <p:nvPicPr>
          <p:cNvPr id="4" name="Picture 3">
            <a:extLst>
              <a:ext uri="{FF2B5EF4-FFF2-40B4-BE49-F238E27FC236}">
                <a16:creationId xmlns:a16="http://schemas.microsoft.com/office/drawing/2014/main" id="{DF5D77AC-6EEC-8F11-D38D-8781BC5969E2}"/>
              </a:ext>
            </a:extLst>
          </p:cNvPr>
          <p:cNvPicPr>
            <a:picLocks noChangeAspect="1"/>
          </p:cNvPicPr>
          <p:nvPr/>
        </p:nvPicPr>
        <p:blipFill>
          <a:blip r:embed="rId2"/>
          <a:stretch>
            <a:fillRect/>
          </a:stretch>
        </p:blipFill>
        <p:spPr>
          <a:xfrm>
            <a:off x="298517" y="2725006"/>
            <a:ext cx="9461932" cy="3011918"/>
          </a:xfrm>
          <a:prstGeom prst="rect">
            <a:avLst/>
          </a:prstGeom>
        </p:spPr>
      </p:pic>
    </p:spTree>
    <p:extLst>
      <p:ext uri="{BB962C8B-B14F-4D97-AF65-F5344CB8AC3E}">
        <p14:creationId xmlns:p14="http://schemas.microsoft.com/office/powerpoint/2010/main" val="41119952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Benefits of Private Cloud</a:t>
            </a:r>
          </a:p>
        </p:txBody>
      </p:sp>
      <p:graphicFrame>
        <p:nvGraphicFramePr>
          <p:cNvPr id="2" name="Diagram 1">
            <a:extLst>
              <a:ext uri="{FF2B5EF4-FFF2-40B4-BE49-F238E27FC236}">
                <a16:creationId xmlns:a16="http://schemas.microsoft.com/office/drawing/2014/main" id="{D3555542-97B4-4701-B24C-67202E531060}"/>
              </a:ext>
            </a:extLst>
          </p:cNvPr>
          <p:cNvGraphicFramePr/>
          <p:nvPr>
            <p:extLst>
              <p:ext uri="{D42A27DB-BD31-4B8C-83A1-F6EECF244321}">
                <p14:modId xmlns:p14="http://schemas.microsoft.com/office/powerpoint/2010/main" val="656928191"/>
              </p:ext>
            </p:extLst>
          </p:nvPr>
        </p:nvGraphicFramePr>
        <p:xfrm>
          <a:off x="996749" y="1412239"/>
          <a:ext cx="9945571" cy="49415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90417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73175F4-9F3F-4685-BEB1-C91CA3C1D178}"/>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Deployment Models</a:t>
            </a:r>
          </a:p>
        </p:txBody>
      </p:sp>
      <p:graphicFrame>
        <p:nvGraphicFramePr>
          <p:cNvPr id="3" name="Diagram 2">
            <a:extLst>
              <a:ext uri="{FF2B5EF4-FFF2-40B4-BE49-F238E27FC236}">
                <a16:creationId xmlns:a16="http://schemas.microsoft.com/office/drawing/2014/main" id="{60FD60C3-F5AA-484E-9671-23517AAACCDB}"/>
              </a:ext>
            </a:extLst>
          </p:cNvPr>
          <p:cNvGraphicFramePr/>
          <p:nvPr>
            <p:extLst>
              <p:ext uri="{D42A27DB-BD31-4B8C-83A1-F6EECF244321}">
                <p14:modId xmlns:p14="http://schemas.microsoft.com/office/powerpoint/2010/main" val="1841894474"/>
              </p:ext>
            </p:extLst>
          </p:nvPr>
        </p:nvGraphicFramePr>
        <p:xfrm>
          <a:off x="690880" y="1300480"/>
          <a:ext cx="9966960" cy="497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0266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B0D5D6-011B-4690-B31A-26FC90B35BF2}"/>
              </a:ext>
            </a:extLst>
          </p:cNvPr>
          <p:cNvSpPr txBox="1"/>
          <p:nvPr/>
        </p:nvSpPr>
        <p:spPr>
          <a:xfrm>
            <a:off x="597836" y="1748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ummary</a:t>
            </a:r>
          </a:p>
        </p:txBody>
      </p:sp>
      <p:sp>
        <p:nvSpPr>
          <p:cNvPr id="5" name="TextBox 4">
            <a:extLst>
              <a:ext uri="{FF2B5EF4-FFF2-40B4-BE49-F238E27FC236}">
                <a16:creationId xmlns:a16="http://schemas.microsoft.com/office/drawing/2014/main" id="{1A7B3405-FD36-4BD3-9026-F7BC63663985}"/>
              </a:ext>
            </a:extLst>
          </p:cNvPr>
          <p:cNvSpPr txBox="1"/>
          <p:nvPr/>
        </p:nvSpPr>
        <p:spPr>
          <a:xfrm>
            <a:off x="494631" y="912032"/>
            <a:ext cx="9258969" cy="7294305"/>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A cloud environment can be accessed from anywhere in the world as long as the user has access to the internet</a:t>
            </a:r>
          </a:p>
          <a:p>
            <a:pPr marL="342900" indent="-342900" algn="just">
              <a:lnSpc>
                <a:spcPct val="150000"/>
              </a:lnSpc>
              <a:buFont typeface="Arial" panose="020B0604020202020204" pitchFamily="34" charset="0"/>
              <a:buChar char="•"/>
            </a:pPr>
            <a:r>
              <a:rPr lang="en-US" sz="2400" dirty="0"/>
              <a:t>Cloud computing leverages economies of scale to save our money by only requiring us to pay for what we use</a:t>
            </a:r>
          </a:p>
          <a:p>
            <a:pPr marL="342900" indent="-342900" algn="just">
              <a:lnSpc>
                <a:spcPct val="150000"/>
              </a:lnSpc>
              <a:buFont typeface="Arial" panose="020B0604020202020204" pitchFamily="34" charset="0"/>
              <a:buChar char="•"/>
            </a:pPr>
            <a:r>
              <a:rPr lang="en-US" sz="2400" dirty="0"/>
              <a:t>Single tenant application, requires one instance for each customer, so there's no cost advantage for SaaS application provider</a:t>
            </a:r>
          </a:p>
          <a:p>
            <a:pPr marL="342900" indent="-342900" algn="just">
              <a:lnSpc>
                <a:spcPct val="150000"/>
              </a:lnSpc>
              <a:buFont typeface="Arial" panose="020B0604020202020204" pitchFamily="34" charset="0"/>
              <a:buChar char="•"/>
            </a:pPr>
            <a:r>
              <a:rPr lang="en-US" sz="2400" dirty="0"/>
              <a:t>Multi tenant applications is easy to update, to maintain, to work with, and also provides cost saving to customers</a:t>
            </a:r>
          </a:p>
          <a:p>
            <a:pPr marL="342900" indent="-342900" algn="just">
              <a:lnSpc>
                <a:spcPct val="150000"/>
              </a:lnSpc>
              <a:buFont typeface="Arial" panose="020B0604020202020204" pitchFamily="34" charset="0"/>
              <a:buChar char="•"/>
            </a:pPr>
            <a:endParaRPr lang="en-US" sz="2400" dirty="0"/>
          </a:p>
          <a:p>
            <a:pPr marL="342900" indent="-342900" algn="just">
              <a:lnSpc>
                <a:spcPct val="150000"/>
              </a:lnSpc>
              <a:buFont typeface="Arial" panose="020B0604020202020204" pitchFamily="34" charset="0"/>
              <a:buChar char="•"/>
            </a:pPr>
            <a:endParaRPr lang="en-US" sz="2400" dirty="0"/>
          </a:p>
          <a:p>
            <a:pPr marL="342900" indent="-342900" algn="just">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37516026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B0D5D6-011B-4690-B31A-26FC90B35BF2}"/>
              </a:ext>
            </a:extLst>
          </p:cNvPr>
          <p:cNvSpPr txBox="1"/>
          <p:nvPr/>
        </p:nvSpPr>
        <p:spPr>
          <a:xfrm>
            <a:off x="597836" y="1748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ummary</a:t>
            </a:r>
          </a:p>
        </p:txBody>
      </p:sp>
      <p:sp>
        <p:nvSpPr>
          <p:cNvPr id="5" name="TextBox 4">
            <a:extLst>
              <a:ext uri="{FF2B5EF4-FFF2-40B4-BE49-F238E27FC236}">
                <a16:creationId xmlns:a16="http://schemas.microsoft.com/office/drawing/2014/main" id="{1A7B3405-FD36-4BD3-9026-F7BC63663985}"/>
              </a:ext>
            </a:extLst>
          </p:cNvPr>
          <p:cNvSpPr txBox="1"/>
          <p:nvPr/>
        </p:nvSpPr>
        <p:spPr>
          <a:xfrm>
            <a:off x="494631" y="912032"/>
            <a:ext cx="9258969" cy="6111609"/>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PaaS doesn’t support VMs for On-Demand Use, where as IaaS supports it.</a:t>
            </a:r>
          </a:p>
          <a:p>
            <a:pPr marL="342900" indent="-342900" algn="just">
              <a:lnSpc>
                <a:spcPct val="150000"/>
              </a:lnSpc>
              <a:buFont typeface="Arial" panose="020B0604020202020204" pitchFamily="34" charset="0"/>
              <a:buChar char="•"/>
            </a:pPr>
            <a:r>
              <a:rPr lang="en-US" sz="2400" dirty="0"/>
              <a:t>PaaS gives developers less control, they must work with the constraints of PaaS technology</a:t>
            </a:r>
          </a:p>
          <a:p>
            <a:pPr marL="342900" indent="-342900" algn="just">
              <a:lnSpc>
                <a:spcPct val="150000"/>
              </a:lnSpc>
              <a:buFont typeface="Arial" panose="020B0604020202020204" pitchFamily="34" charset="0"/>
              <a:buChar char="•"/>
            </a:pPr>
            <a:r>
              <a:rPr lang="en-US" sz="2400" dirty="0"/>
              <a:t>Private clouds have value, only if users have customized and unique requests</a:t>
            </a:r>
          </a:p>
          <a:p>
            <a:pPr marL="342900" indent="-342900" algn="just">
              <a:lnSpc>
                <a:spcPct val="150000"/>
              </a:lnSpc>
              <a:buFont typeface="Arial" panose="020B0604020202020204" pitchFamily="34" charset="0"/>
              <a:buChar char="•"/>
            </a:pPr>
            <a:r>
              <a:rPr lang="en-US" sz="2400" dirty="0"/>
              <a:t>Private cloud is allowing automated VM on demand requests, organizations cannot claim their data centers as private cloud without this facility</a:t>
            </a:r>
          </a:p>
          <a:p>
            <a:pPr marL="342900" indent="-342900" algn="just">
              <a:lnSpc>
                <a:spcPct val="150000"/>
              </a:lnSpc>
              <a:buFont typeface="Arial" panose="020B0604020202020204" pitchFamily="34" charset="0"/>
              <a:buChar char="•"/>
            </a:pPr>
            <a:endParaRPr lang="en-US" sz="2400" dirty="0"/>
          </a:p>
          <a:p>
            <a:pPr marL="342900" indent="-342900" algn="just">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13449841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0959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D9BE81-0291-64C3-64EA-BD18C22CFFE8}"/>
              </a:ext>
            </a:extLst>
          </p:cNvPr>
          <p:cNvSpPr>
            <a:spLocks noGrp="1"/>
          </p:cNvSpPr>
          <p:nvPr>
            <p:ph idx="1"/>
          </p:nvPr>
        </p:nvSpPr>
        <p:spPr/>
        <p:txBody>
          <a:bodyPr/>
          <a:lstStyle/>
          <a:p>
            <a:pPr algn="l">
              <a:buFont typeface="Arial" panose="020B0604020202020204" pitchFamily="34" charset="0"/>
              <a:buChar char="•"/>
            </a:pPr>
            <a:r>
              <a:rPr lang="en-US" b="0" i="0" dirty="0">
                <a:solidFill>
                  <a:srgbClr val="000000"/>
                </a:solidFill>
                <a:effectLst/>
                <a:latin typeface="Noto Sans JP"/>
              </a:rPr>
              <a:t>Pay the rent for the </a:t>
            </a:r>
            <a:r>
              <a:rPr lang="en-US" b="1" i="0" dirty="0">
                <a:solidFill>
                  <a:srgbClr val="000000"/>
                </a:solidFill>
                <a:effectLst/>
                <a:latin typeface="Noto Sans JP"/>
              </a:rPr>
              <a:t>data center</a:t>
            </a:r>
            <a:endParaRPr lang="en-US" b="0" i="0" dirty="0">
              <a:solidFill>
                <a:srgbClr val="000000"/>
              </a:solidFill>
              <a:effectLst/>
              <a:latin typeface="Noto Sans JP"/>
            </a:endParaRPr>
          </a:p>
          <a:p>
            <a:pPr algn="l">
              <a:buFont typeface="Arial" panose="020B0604020202020204" pitchFamily="34" charset="0"/>
              <a:buChar char="•"/>
            </a:pPr>
            <a:r>
              <a:rPr lang="en-US" b="0" i="0" dirty="0">
                <a:solidFill>
                  <a:srgbClr val="000000"/>
                </a:solidFill>
                <a:effectLst/>
                <a:latin typeface="Noto Sans JP"/>
              </a:rPr>
              <a:t>Pay for </a:t>
            </a:r>
            <a:r>
              <a:rPr lang="en-US" b="1" i="0" dirty="0">
                <a:solidFill>
                  <a:srgbClr val="000000"/>
                </a:solidFill>
                <a:effectLst/>
                <a:latin typeface="Noto Sans JP"/>
              </a:rPr>
              <a:t>power supply, cooling, maintenance</a:t>
            </a:r>
            <a:endParaRPr lang="en-US" b="0" i="0" dirty="0">
              <a:solidFill>
                <a:srgbClr val="000000"/>
              </a:solidFill>
              <a:effectLst/>
              <a:latin typeface="Noto Sans JP"/>
            </a:endParaRPr>
          </a:p>
          <a:p>
            <a:pPr algn="l">
              <a:buFont typeface="Arial" panose="020B0604020202020204" pitchFamily="34" charset="0"/>
              <a:buChar char="•"/>
            </a:pPr>
            <a:r>
              <a:rPr lang="en-US" b="1" i="0" dirty="0">
                <a:solidFill>
                  <a:srgbClr val="000000"/>
                </a:solidFill>
                <a:effectLst/>
                <a:latin typeface="Noto Sans JP"/>
              </a:rPr>
              <a:t>Adding and replacing hardwar</a:t>
            </a:r>
            <a:r>
              <a:rPr lang="en-US" b="0" i="0" dirty="0">
                <a:solidFill>
                  <a:srgbClr val="000000"/>
                </a:solidFill>
                <a:effectLst/>
                <a:latin typeface="Noto Sans JP"/>
              </a:rPr>
              <a:t>e takes time</a:t>
            </a:r>
          </a:p>
          <a:p>
            <a:pPr algn="l">
              <a:buFont typeface="Arial" panose="020B0604020202020204" pitchFamily="34" charset="0"/>
              <a:buChar char="•"/>
            </a:pPr>
            <a:r>
              <a:rPr lang="en-US" b="1" i="0" dirty="0">
                <a:solidFill>
                  <a:srgbClr val="000000"/>
                </a:solidFill>
                <a:effectLst/>
                <a:latin typeface="Noto Sans JP"/>
              </a:rPr>
              <a:t>Scaling</a:t>
            </a:r>
            <a:r>
              <a:rPr lang="en-US" b="0" i="0" dirty="0">
                <a:solidFill>
                  <a:srgbClr val="000000"/>
                </a:solidFill>
                <a:effectLst/>
                <a:latin typeface="Noto Sans JP"/>
              </a:rPr>
              <a:t> is limited</a:t>
            </a:r>
          </a:p>
          <a:p>
            <a:pPr algn="l">
              <a:buFont typeface="Arial" panose="020B0604020202020204" pitchFamily="34" charset="0"/>
              <a:buChar char="•"/>
            </a:pPr>
            <a:r>
              <a:rPr lang="en-US" b="0" i="0" dirty="0">
                <a:solidFill>
                  <a:srgbClr val="000000"/>
                </a:solidFill>
                <a:effectLst/>
                <a:latin typeface="Noto Sans JP"/>
              </a:rPr>
              <a:t>Hire a </a:t>
            </a:r>
            <a:r>
              <a:rPr lang="en-US" b="1" i="0" dirty="0">
                <a:solidFill>
                  <a:srgbClr val="000000"/>
                </a:solidFill>
                <a:effectLst/>
                <a:latin typeface="Noto Sans JP"/>
              </a:rPr>
              <a:t>team to monitor the infrastructure</a:t>
            </a:r>
            <a:endParaRPr lang="en-US" b="0" i="0" dirty="0">
              <a:solidFill>
                <a:srgbClr val="000000"/>
              </a:solidFill>
              <a:effectLst/>
              <a:latin typeface="Noto Sans JP"/>
            </a:endParaRPr>
          </a:p>
          <a:p>
            <a:pPr algn="l">
              <a:buFont typeface="Arial" panose="020B0604020202020204" pitchFamily="34" charset="0"/>
              <a:buChar char="•"/>
            </a:pPr>
            <a:r>
              <a:rPr lang="en-US" b="0" i="0" dirty="0">
                <a:solidFill>
                  <a:srgbClr val="000000"/>
                </a:solidFill>
                <a:effectLst/>
                <a:latin typeface="Noto Sans JP"/>
              </a:rPr>
              <a:t>How to deal with </a:t>
            </a:r>
            <a:r>
              <a:rPr lang="en-US" b="1" i="0" dirty="0">
                <a:solidFill>
                  <a:srgbClr val="000000"/>
                </a:solidFill>
                <a:effectLst/>
                <a:latin typeface="Noto Sans JP"/>
              </a:rPr>
              <a:t>disasters?</a:t>
            </a:r>
            <a:r>
              <a:rPr lang="en-US" b="0" i="0" dirty="0">
                <a:solidFill>
                  <a:srgbClr val="000000"/>
                </a:solidFill>
                <a:effectLst/>
                <a:latin typeface="Noto Sans JP"/>
              </a:rPr>
              <a:t> (earthquake, power shutdown, fire)</a:t>
            </a:r>
          </a:p>
          <a:p>
            <a:endParaRPr lang="en-US" dirty="0"/>
          </a:p>
        </p:txBody>
      </p:sp>
      <p:sp>
        <p:nvSpPr>
          <p:cNvPr id="3" name="Title 2">
            <a:extLst>
              <a:ext uri="{FF2B5EF4-FFF2-40B4-BE49-F238E27FC236}">
                <a16:creationId xmlns:a16="http://schemas.microsoft.com/office/drawing/2014/main" id="{084D2E85-CE80-D3E5-96AB-86DC0A29900D}"/>
              </a:ext>
            </a:extLst>
          </p:cNvPr>
          <p:cNvSpPr>
            <a:spLocks noGrp="1"/>
          </p:cNvSpPr>
          <p:nvPr>
            <p:ph type="title"/>
          </p:nvPr>
        </p:nvSpPr>
        <p:spPr/>
        <p:txBody>
          <a:bodyPr>
            <a:normAutofit fontScale="90000"/>
          </a:bodyPr>
          <a:lstStyle/>
          <a:p>
            <a:r>
              <a:rPr lang="en-US" b="1" i="0" dirty="0">
                <a:solidFill>
                  <a:srgbClr val="333333"/>
                </a:solidFill>
                <a:effectLst/>
                <a:latin typeface="Poppins" panose="00000500000000000000" pitchFamily="2" charset="0"/>
              </a:rPr>
              <a:t>Problem With Traditional Architecture</a:t>
            </a:r>
            <a:br>
              <a:rPr lang="en-US" b="1" i="0" dirty="0">
                <a:solidFill>
                  <a:srgbClr val="333333"/>
                </a:solidFill>
                <a:effectLst/>
                <a:latin typeface="Poppins" panose="00000500000000000000" pitchFamily="2" charset="0"/>
              </a:rPr>
            </a:br>
            <a:endParaRPr lang="en-US" dirty="0"/>
          </a:p>
        </p:txBody>
      </p:sp>
    </p:spTree>
    <p:extLst>
      <p:ext uri="{BB962C8B-B14F-4D97-AF65-F5344CB8AC3E}">
        <p14:creationId xmlns:p14="http://schemas.microsoft.com/office/powerpoint/2010/main" val="4186837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Introduction to Cloud Computing</a:t>
            </a:r>
          </a:p>
        </p:txBody>
      </p:sp>
      <p:sp>
        <p:nvSpPr>
          <p:cNvPr id="5" name="TextBox 4">
            <a:extLst>
              <a:ext uri="{FF2B5EF4-FFF2-40B4-BE49-F238E27FC236}">
                <a16:creationId xmlns:a16="http://schemas.microsoft.com/office/drawing/2014/main" id="{DE21B9F9-9725-409F-8A2A-AD1D32E00B20}"/>
              </a:ext>
            </a:extLst>
          </p:cNvPr>
          <p:cNvSpPr txBox="1"/>
          <p:nvPr/>
        </p:nvSpPr>
        <p:spPr>
          <a:xfrm>
            <a:off x="421908" y="1677136"/>
            <a:ext cx="5950018" cy="4339650"/>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Cloud computing is a virtualized computing  platform that provides infinite resources for running our applications.</a:t>
            </a:r>
          </a:p>
          <a:p>
            <a:pPr marL="342900" indent="-342900" algn="just">
              <a:lnSpc>
                <a:spcPct val="150000"/>
              </a:lnSpc>
              <a:buFont typeface="Arial" panose="020B0604020202020204" pitchFamily="34" charset="0"/>
              <a:buChar char="•"/>
            </a:pPr>
            <a:r>
              <a:rPr lang="en-US" sz="2400" dirty="0"/>
              <a:t>It leverages economies of scale to save our money by only requiring us to pay for what we use.</a:t>
            </a:r>
          </a:p>
          <a:p>
            <a:pPr marL="342900" indent="-342900">
              <a:buFont typeface="Arial" panose="020B0604020202020204" pitchFamily="34" charset="0"/>
              <a:buChar char="•"/>
            </a:pPr>
            <a:endParaRPr lang="en-US" sz="2400" dirty="0"/>
          </a:p>
        </p:txBody>
      </p:sp>
      <p:pic>
        <p:nvPicPr>
          <p:cNvPr id="2050" name="Picture 2" descr="Image result">
            <a:extLst>
              <a:ext uri="{FF2B5EF4-FFF2-40B4-BE49-F238E27FC236}">
                <a16:creationId xmlns:a16="http://schemas.microsoft.com/office/drawing/2014/main" id="{17D99087-59C3-46EF-A98B-E71C33133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8060" y="1482291"/>
            <a:ext cx="5220886" cy="47293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5509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E55AC2-1A16-D0FD-A49F-E478EA9A04BB}"/>
              </a:ext>
            </a:extLst>
          </p:cNvPr>
          <p:cNvSpPr>
            <a:spLocks noGrp="1"/>
          </p:cNvSpPr>
          <p:nvPr>
            <p:ph idx="1"/>
          </p:nvPr>
        </p:nvSpPr>
        <p:spPr/>
        <p:txBody>
          <a:bodyPr/>
          <a:lstStyle/>
          <a:p>
            <a:pPr marL="0" marR="0" algn="just">
              <a:lnSpc>
                <a:spcPct val="107000"/>
              </a:lnSpc>
              <a:spcBef>
                <a:spcPts val="0"/>
              </a:spcBef>
              <a:spcAft>
                <a:spcPts val="800"/>
              </a:spcAft>
            </a:pPr>
            <a:r>
              <a:rPr lang="en-IN" sz="1800"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It is the use of remote servers on the internet to store, manage and process data rather than a local server or your personal comput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IN" sz="1800" b="1"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Store:</a:t>
            </a:r>
            <a:r>
              <a:rPr lang="en-IN" sz="1800"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 Store large or small files on the cloud, which you can access on the g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IN" sz="1800" b="1"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Manage:</a:t>
            </a:r>
            <a:r>
              <a:rPr lang="en-IN" sz="1800"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 Manage your data with optimized databases on the clou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IN" sz="1800" b="1"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Process:</a:t>
            </a:r>
            <a:r>
              <a:rPr lang="en-IN" sz="1800" dirty="0">
                <a:solidFill>
                  <a:srgbClr val="4A4A4A"/>
                </a:solidFill>
                <a:effectLst/>
                <a:latin typeface="Open Sans" panose="020B0606030504020204" pitchFamily="34" charset="0"/>
                <a:ea typeface="Times New Roman" panose="02020603050405020304" pitchFamily="18" charset="0"/>
                <a:cs typeface="Times New Roman" panose="02020603050405020304" pitchFamily="18" charset="0"/>
              </a:rPr>
              <a:t> With scalable compute power on the cloud, you can process any amount of data in moments!</a:t>
            </a:r>
          </a:p>
          <a:p>
            <a:pPr marL="0" marR="0" algn="just">
              <a:lnSpc>
                <a:spcPct val="107000"/>
              </a:lnSpc>
              <a:spcBef>
                <a:spcPts val="0"/>
              </a:spcBef>
              <a:spcAft>
                <a:spcPts val="800"/>
              </a:spcAft>
            </a:pPr>
            <a:endParaRPr lang="en-IN" sz="1800" dirty="0">
              <a:solidFill>
                <a:srgbClr val="4A4A4A"/>
              </a:solidFill>
              <a:latin typeface="Open Sans" panose="020B060603050402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rgbClr val="000000"/>
              </a:solidFill>
              <a:latin typeface="Noto Sans JP"/>
            </a:endParaRPr>
          </a:p>
          <a:p>
            <a:endParaRPr lang="en-US" dirty="0"/>
          </a:p>
        </p:txBody>
      </p:sp>
      <p:sp>
        <p:nvSpPr>
          <p:cNvPr id="3" name="Title 2">
            <a:extLst>
              <a:ext uri="{FF2B5EF4-FFF2-40B4-BE49-F238E27FC236}">
                <a16:creationId xmlns:a16="http://schemas.microsoft.com/office/drawing/2014/main" id="{990037F9-4A32-E8B1-0830-F36EC7790C34}"/>
              </a:ext>
            </a:extLst>
          </p:cNvPr>
          <p:cNvSpPr>
            <a:spLocks noGrp="1"/>
          </p:cNvSpPr>
          <p:nvPr>
            <p:ph type="title"/>
          </p:nvPr>
        </p:nvSpPr>
        <p:spPr/>
        <p:txBody>
          <a:bodyPr>
            <a:normAutofit/>
          </a:bodyPr>
          <a:lstStyle/>
          <a:p>
            <a:pPr marL="0" marR="0">
              <a:spcBef>
                <a:spcPts val="0"/>
              </a:spcBef>
              <a:spcAft>
                <a:spcPts val="0"/>
              </a:spcAft>
            </a:pPr>
            <a:r>
              <a:rPr lang="en-IN" sz="2400" b="1" dirty="0">
                <a:solidFill>
                  <a:srgbClr val="4A4A4A"/>
                </a:solidFill>
                <a:effectLst/>
                <a:latin typeface="Verdana" panose="020B0604030504040204" pitchFamily="34" charset="0"/>
                <a:ea typeface="Calibri" panose="020F0502020204030204" pitchFamily="34" charset="0"/>
                <a:cs typeface="Open Sans" panose="020B0606030504020204" pitchFamily="34" charset="0"/>
              </a:rPr>
              <a:t>Cloud Computing</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descr="Cloud - Azure Tutorial - Edureka">
            <a:extLst>
              <a:ext uri="{FF2B5EF4-FFF2-40B4-BE49-F238E27FC236}">
                <a16:creationId xmlns:a16="http://schemas.microsoft.com/office/drawing/2014/main" id="{0BF90FC5-F046-E023-4682-837F17C8782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1924" y="3508744"/>
            <a:ext cx="6672373" cy="2831095"/>
          </a:xfrm>
          <a:prstGeom prst="rect">
            <a:avLst/>
          </a:prstGeom>
          <a:noFill/>
          <a:ln>
            <a:noFill/>
          </a:ln>
        </p:spPr>
      </p:pic>
    </p:spTree>
    <p:extLst>
      <p:ext uri="{BB962C8B-B14F-4D97-AF65-F5344CB8AC3E}">
        <p14:creationId xmlns:p14="http://schemas.microsoft.com/office/powerpoint/2010/main" val="2324060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Providers</a:t>
            </a:r>
          </a:p>
        </p:txBody>
      </p:sp>
      <p:sp>
        <p:nvSpPr>
          <p:cNvPr id="5" name="TextBox 4">
            <a:extLst>
              <a:ext uri="{FF2B5EF4-FFF2-40B4-BE49-F238E27FC236}">
                <a16:creationId xmlns:a16="http://schemas.microsoft.com/office/drawing/2014/main" id="{DE21B9F9-9725-409F-8A2A-AD1D32E00B20}"/>
              </a:ext>
            </a:extLst>
          </p:cNvPr>
          <p:cNvSpPr txBox="1"/>
          <p:nvPr/>
        </p:nvSpPr>
        <p:spPr>
          <a:xfrm>
            <a:off x="577516" y="991402"/>
            <a:ext cx="11223057" cy="2787623"/>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A cloud provider is a company that offers some component of cloud computing services like servers, storage, databases, networking analytics and more over the internet.</a:t>
            </a:r>
          </a:p>
          <a:p>
            <a:pPr marL="342900" indent="-342900" algn="just">
              <a:lnSpc>
                <a:spcPct val="150000"/>
              </a:lnSpc>
              <a:buFont typeface="Arial" panose="020B0604020202020204" pitchFamily="34" charset="0"/>
              <a:buChar char="•"/>
            </a:pPr>
            <a:r>
              <a:rPr lang="en-US" sz="2400" dirty="0"/>
              <a:t>Cloud providers are sometimes referred to as cloud service providers or CSPs</a:t>
            </a:r>
          </a:p>
        </p:txBody>
      </p:sp>
      <p:pic>
        <p:nvPicPr>
          <p:cNvPr id="1030" name="Picture 6" descr="Image result for cloud providers transparent">
            <a:extLst>
              <a:ext uri="{FF2B5EF4-FFF2-40B4-BE49-F238E27FC236}">
                <a16:creationId xmlns:a16="http://schemas.microsoft.com/office/drawing/2014/main" id="{CB51DACE-F121-45F2-8727-5E88B46DF2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1693" y="3429000"/>
            <a:ext cx="6018542" cy="3101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674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Computing Categories</a:t>
            </a:r>
          </a:p>
        </p:txBody>
      </p:sp>
      <p:graphicFrame>
        <p:nvGraphicFramePr>
          <p:cNvPr id="2" name="Diagram 1">
            <a:extLst>
              <a:ext uri="{FF2B5EF4-FFF2-40B4-BE49-F238E27FC236}">
                <a16:creationId xmlns:a16="http://schemas.microsoft.com/office/drawing/2014/main" id="{678BC5C4-EF35-4903-84D7-B2E780A176AE}"/>
              </a:ext>
            </a:extLst>
          </p:cNvPr>
          <p:cNvGraphicFramePr/>
          <p:nvPr>
            <p:extLst>
              <p:ext uri="{D42A27DB-BD31-4B8C-83A1-F6EECF244321}">
                <p14:modId xmlns:p14="http://schemas.microsoft.com/office/powerpoint/2010/main" val="2353530189"/>
              </p:ext>
            </p:extLst>
          </p:nvPr>
        </p:nvGraphicFramePr>
        <p:xfrm>
          <a:off x="1021347" y="1232034"/>
          <a:ext cx="10711849" cy="51880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0976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211754"/>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Cloud Computing Categories</a:t>
            </a:r>
          </a:p>
        </p:txBody>
      </p:sp>
      <p:pic>
        <p:nvPicPr>
          <p:cNvPr id="6" name="Picture 2">
            <a:extLst>
              <a:ext uri="{FF2B5EF4-FFF2-40B4-BE49-F238E27FC236}">
                <a16:creationId xmlns:a16="http://schemas.microsoft.com/office/drawing/2014/main" id="{29B80A12-EDF7-4985-A49D-3498BA6688B1}"/>
              </a:ext>
            </a:extLst>
          </p:cNvPr>
          <p:cNvPicPr>
            <a:picLocks noChangeAspect="1" noChangeArrowheads="1"/>
          </p:cNvPicPr>
          <p:nvPr/>
        </p:nvPicPr>
        <p:blipFill>
          <a:blip r:embed="rId3"/>
          <a:srcRect/>
          <a:stretch>
            <a:fillRect/>
          </a:stretch>
        </p:blipFill>
        <p:spPr bwMode="auto">
          <a:xfrm>
            <a:off x="2475526" y="1584654"/>
            <a:ext cx="1538514" cy="1538514"/>
          </a:xfrm>
          <a:prstGeom prst="rect">
            <a:avLst/>
          </a:prstGeom>
          <a:noFill/>
          <a:ln w="9525">
            <a:noFill/>
            <a:miter lim="800000"/>
            <a:headEnd/>
            <a:tailEnd/>
          </a:ln>
          <a:effectLst/>
        </p:spPr>
      </p:pic>
      <p:sp>
        <p:nvSpPr>
          <p:cNvPr id="7" name="TextBox 6">
            <a:extLst>
              <a:ext uri="{FF2B5EF4-FFF2-40B4-BE49-F238E27FC236}">
                <a16:creationId xmlns:a16="http://schemas.microsoft.com/office/drawing/2014/main" id="{1A1B0160-0CD1-44A8-8696-E75548B41A88}"/>
              </a:ext>
            </a:extLst>
          </p:cNvPr>
          <p:cNvSpPr txBox="1"/>
          <p:nvPr/>
        </p:nvSpPr>
        <p:spPr>
          <a:xfrm>
            <a:off x="4253526" y="3631169"/>
            <a:ext cx="1393370"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On-Premises</a:t>
            </a:r>
          </a:p>
        </p:txBody>
      </p:sp>
      <p:sp>
        <p:nvSpPr>
          <p:cNvPr id="8" name="TextBox 7">
            <a:extLst>
              <a:ext uri="{FF2B5EF4-FFF2-40B4-BE49-F238E27FC236}">
                <a16:creationId xmlns:a16="http://schemas.microsoft.com/office/drawing/2014/main" id="{5B5EA067-D9B5-4D47-ADFD-E725F58F1421}"/>
              </a:ext>
            </a:extLst>
          </p:cNvPr>
          <p:cNvSpPr txBox="1"/>
          <p:nvPr/>
        </p:nvSpPr>
        <p:spPr>
          <a:xfrm>
            <a:off x="8012726" y="1388709"/>
            <a:ext cx="1879600"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Service Provider</a:t>
            </a:r>
          </a:p>
        </p:txBody>
      </p:sp>
      <p:sp>
        <p:nvSpPr>
          <p:cNvPr id="9" name="Rectangle 8">
            <a:extLst>
              <a:ext uri="{FF2B5EF4-FFF2-40B4-BE49-F238E27FC236}">
                <a16:creationId xmlns:a16="http://schemas.microsoft.com/office/drawing/2014/main" id="{A31AF906-865D-46A8-BE85-98E8B27E5352}"/>
              </a:ext>
            </a:extLst>
          </p:cNvPr>
          <p:cNvSpPr/>
          <p:nvPr/>
        </p:nvSpPr>
        <p:spPr>
          <a:xfrm>
            <a:off x="2439240" y="4037568"/>
            <a:ext cx="3788229" cy="2423886"/>
          </a:xfrm>
          <a:prstGeom prst="rect">
            <a:avLst/>
          </a:prstGeom>
          <a:no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3">
            <a:extLst>
              <a:ext uri="{FF2B5EF4-FFF2-40B4-BE49-F238E27FC236}">
                <a16:creationId xmlns:a16="http://schemas.microsoft.com/office/drawing/2014/main" id="{2EDFB9B3-43B7-4609-BA10-5F047A191BA2}"/>
              </a:ext>
            </a:extLst>
          </p:cNvPr>
          <p:cNvPicPr>
            <a:picLocks noChangeAspect="1" noChangeArrowheads="1"/>
          </p:cNvPicPr>
          <p:nvPr/>
        </p:nvPicPr>
        <p:blipFill>
          <a:blip r:embed="rId4"/>
          <a:srcRect/>
          <a:stretch>
            <a:fillRect/>
          </a:stretch>
        </p:blipFill>
        <p:spPr bwMode="auto">
          <a:xfrm>
            <a:off x="2511811" y="3848882"/>
            <a:ext cx="2423886" cy="2206172"/>
          </a:xfrm>
          <a:prstGeom prst="rect">
            <a:avLst/>
          </a:prstGeom>
          <a:noFill/>
          <a:ln w="9525">
            <a:noFill/>
            <a:miter lim="800000"/>
            <a:headEnd/>
            <a:tailEnd/>
          </a:ln>
          <a:effectLst/>
        </p:spPr>
      </p:pic>
      <p:grpSp>
        <p:nvGrpSpPr>
          <p:cNvPr id="11" name="Group 10">
            <a:extLst>
              <a:ext uri="{FF2B5EF4-FFF2-40B4-BE49-F238E27FC236}">
                <a16:creationId xmlns:a16="http://schemas.microsoft.com/office/drawing/2014/main" id="{7B2A4DC2-712C-4538-BD9B-F06930F7C099}"/>
              </a:ext>
            </a:extLst>
          </p:cNvPr>
          <p:cNvGrpSpPr/>
          <p:nvPr/>
        </p:nvGrpSpPr>
        <p:grpSpPr>
          <a:xfrm>
            <a:off x="3752782" y="4647168"/>
            <a:ext cx="529772" cy="834571"/>
            <a:chOff x="7757886" y="2895600"/>
            <a:chExt cx="711200" cy="1016000"/>
          </a:xfrm>
        </p:grpSpPr>
        <p:sp>
          <p:nvSpPr>
            <p:cNvPr id="12" name="Rectangle 11">
              <a:extLst>
                <a:ext uri="{FF2B5EF4-FFF2-40B4-BE49-F238E27FC236}">
                  <a16:creationId xmlns:a16="http://schemas.microsoft.com/office/drawing/2014/main" id="{D0011F5C-CEFF-41FE-9DCE-B50E0375C4F0}"/>
                </a:ext>
              </a:extLst>
            </p:cNvPr>
            <p:cNvSpPr/>
            <p:nvPr/>
          </p:nvSpPr>
          <p:spPr>
            <a:xfrm>
              <a:off x="7757886" y="2895600"/>
              <a:ext cx="711200" cy="1016000"/>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dirty="0">
                <a:latin typeface="Candara" pitchFamily="34" charset="0"/>
              </a:endParaRPr>
            </a:p>
            <a:p>
              <a:pPr algn="ctr"/>
              <a:endParaRPr lang="en-US" dirty="0">
                <a:latin typeface="Candara" pitchFamily="34" charset="0"/>
              </a:endParaRPr>
            </a:p>
            <a:p>
              <a:pPr algn="ctr"/>
              <a:r>
                <a:rPr lang="en-US" dirty="0">
                  <a:latin typeface="Candara" pitchFamily="34" charset="0"/>
                </a:rPr>
                <a:t>VM</a:t>
              </a:r>
            </a:p>
          </p:txBody>
        </p:sp>
        <p:sp>
          <p:nvSpPr>
            <p:cNvPr id="13" name="Oval 12">
              <a:extLst>
                <a:ext uri="{FF2B5EF4-FFF2-40B4-BE49-F238E27FC236}">
                  <a16:creationId xmlns:a16="http://schemas.microsoft.com/office/drawing/2014/main" id="{0BEAADFE-F7AF-431C-A1A8-56C3DF3C68A2}"/>
                </a:ext>
              </a:extLst>
            </p:cNvPr>
            <p:cNvSpPr/>
            <p:nvPr/>
          </p:nvSpPr>
          <p:spPr>
            <a:xfrm>
              <a:off x="7830457" y="3026229"/>
              <a:ext cx="522514" cy="46445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grpSp>
      <p:grpSp>
        <p:nvGrpSpPr>
          <p:cNvPr id="14" name="Group 13">
            <a:extLst>
              <a:ext uri="{FF2B5EF4-FFF2-40B4-BE49-F238E27FC236}">
                <a16:creationId xmlns:a16="http://schemas.microsoft.com/office/drawing/2014/main" id="{6030F816-D0FA-40EA-B4CF-70E1272D0482}"/>
              </a:ext>
            </a:extLst>
          </p:cNvPr>
          <p:cNvGrpSpPr/>
          <p:nvPr/>
        </p:nvGrpSpPr>
        <p:grpSpPr>
          <a:xfrm>
            <a:off x="3077869" y="4668939"/>
            <a:ext cx="529772" cy="834571"/>
            <a:chOff x="7757886" y="2895600"/>
            <a:chExt cx="711200" cy="1016000"/>
          </a:xfrm>
        </p:grpSpPr>
        <p:sp>
          <p:nvSpPr>
            <p:cNvPr id="15" name="Rectangle 14">
              <a:extLst>
                <a:ext uri="{FF2B5EF4-FFF2-40B4-BE49-F238E27FC236}">
                  <a16:creationId xmlns:a16="http://schemas.microsoft.com/office/drawing/2014/main" id="{FB5EF669-7F31-4E5C-A8B7-5245BCF8E059}"/>
                </a:ext>
              </a:extLst>
            </p:cNvPr>
            <p:cNvSpPr/>
            <p:nvPr/>
          </p:nvSpPr>
          <p:spPr>
            <a:xfrm>
              <a:off x="7757886" y="2895600"/>
              <a:ext cx="711200" cy="1016000"/>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dirty="0">
                <a:latin typeface="Candara" pitchFamily="34" charset="0"/>
              </a:endParaRPr>
            </a:p>
            <a:p>
              <a:pPr algn="ctr"/>
              <a:endParaRPr lang="en-US" dirty="0">
                <a:latin typeface="Candara" pitchFamily="34" charset="0"/>
              </a:endParaRPr>
            </a:p>
            <a:p>
              <a:pPr algn="ctr"/>
              <a:r>
                <a:rPr lang="en-US" dirty="0">
                  <a:latin typeface="Candara" pitchFamily="34" charset="0"/>
                </a:rPr>
                <a:t>VM</a:t>
              </a:r>
            </a:p>
          </p:txBody>
        </p:sp>
        <p:sp>
          <p:nvSpPr>
            <p:cNvPr id="16" name="Oval 15">
              <a:extLst>
                <a:ext uri="{FF2B5EF4-FFF2-40B4-BE49-F238E27FC236}">
                  <a16:creationId xmlns:a16="http://schemas.microsoft.com/office/drawing/2014/main" id="{51F145D9-84A3-4DA5-8DD8-A1FF45290D1C}"/>
                </a:ext>
              </a:extLst>
            </p:cNvPr>
            <p:cNvSpPr/>
            <p:nvPr/>
          </p:nvSpPr>
          <p:spPr>
            <a:xfrm>
              <a:off x="7830457" y="3026229"/>
              <a:ext cx="522514" cy="46445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grpSp>
      <p:grpSp>
        <p:nvGrpSpPr>
          <p:cNvPr id="17" name="Group 16">
            <a:extLst>
              <a:ext uri="{FF2B5EF4-FFF2-40B4-BE49-F238E27FC236}">
                <a16:creationId xmlns:a16="http://schemas.microsoft.com/office/drawing/2014/main" id="{BB457B89-84C0-4421-8C54-C85FE2F8368D}"/>
              </a:ext>
            </a:extLst>
          </p:cNvPr>
          <p:cNvGrpSpPr/>
          <p:nvPr/>
        </p:nvGrpSpPr>
        <p:grpSpPr>
          <a:xfrm>
            <a:off x="5051811" y="5249509"/>
            <a:ext cx="529772" cy="834571"/>
            <a:chOff x="7757886" y="2895600"/>
            <a:chExt cx="711200" cy="1016000"/>
          </a:xfrm>
        </p:grpSpPr>
        <p:sp>
          <p:nvSpPr>
            <p:cNvPr id="18" name="Rectangle 17">
              <a:extLst>
                <a:ext uri="{FF2B5EF4-FFF2-40B4-BE49-F238E27FC236}">
                  <a16:creationId xmlns:a16="http://schemas.microsoft.com/office/drawing/2014/main" id="{D9262D12-3A6F-4019-AF9D-BA63EB69469B}"/>
                </a:ext>
              </a:extLst>
            </p:cNvPr>
            <p:cNvSpPr/>
            <p:nvPr/>
          </p:nvSpPr>
          <p:spPr>
            <a:xfrm>
              <a:off x="7757886" y="2895600"/>
              <a:ext cx="711200" cy="1016000"/>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dirty="0">
                <a:latin typeface="Candara" pitchFamily="34" charset="0"/>
              </a:endParaRPr>
            </a:p>
            <a:p>
              <a:pPr algn="ctr"/>
              <a:endParaRPr lang="en-US" dirty="0">
                <a:latin typeface="Candara" pitchFamily="34" charset="0"/>
              </a:endParaRPr>
            </a:p>
            <a:p>
              <a:pPr algn="ctr"/>
              <a:r>
                <a:rPr lang="en-US" dirty="0">
                  <a:latin typeface="Candara" pitchFamily="34" charset="0"/>
                </a:rPr>
                <a:t>VM</a:t>
              </a:r>
            </a:p>
          </p:txBody>
        </p:sp>
        <p:sp>
          <p:nvSpPr>
            <p:cNvPr id="19" name="Oval 18">
              <a:extLst>
                <a:ext uri="{FF2B5EF4-FFF2-40B4-BE49-F238E27FC236}">
                  <a16:creationId xmlns:a16="http://schemas.microsoft.com/office/drawing/2014/main" id="{D2317347-67E3-4B36-A896-47F2BC05123A}"/>
                </a:ext>
              </a:extLst>
            </p:cNvPr>
            <p:cNvSpPr/>
            <p:nvPr/>
          </p:nvSpPr>
          <p:spPr>
            <a:xfrm>
              <a:off x="7830457" y="3026229"/>
              <a:ext cx="522514" cy="46445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grpSp>
      <p:sp>
        <p:nvSpPr>
          <p:cNvPr id="20" name="Oval 19">
            <a:extLst>
              <a:ext uri="{FF2B5EF4-FFF2-40B4-BE49-F238E27FC236}">
                <a16:creationId xmlns:a16="http://schemas.microsoft.com/office/drawing/2014/main" id="{F05BB2C6-B8CD-4B0D-B584-02F781745B6C}"/>
              </a:ext>
            </a:extLst>
          </p:cNvPr>
          <p:cNvSpPr/>
          <p:nvPr/>
        </p:nvSpPr>
        <p:spPr>
          <a:xfrm>
            <a:off x="5664669" y="5436640"/>
            <a:ext cx="389220" cy="38151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sp>
        <p:nvSpPr>
          <p:cNvPr id="21" name="TextBox 20">
            <a:extLst>
              <a:ext uri="{FF2B5EF4-FFF2-40B4-BE49-F238E27FC236}">
                <a16:creationId xmlns:a16="http://schemas.microsoft.com/office/drawing/2014/main" id="{1D5FFAA2-5B99-4C72-8415-8EF1BB6CFF52}"/>
              </a:ext>
            </a:extLst>
          </p:cNvPr>
          <p:cNvSpPr txBox="1"/>
          <p:nvPr/>
        </p:nvSpPr>
        <p:spPr>
          <a:xfrm>
            <a:off x="2954497" y="5786540"/>
            <a:ext cx="1712685"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Private Cloud</a:t>
            </a:r>
          </a:p>
        </p:txBody>
      </p:sp>
      <p:sp>
        <p:nvSpPr>
          <p:cNvPr id="22" name="Rectangle 21">
            <a:extLst>
              <a:ext uri="{FF2B5EF4-FFF2-40B4-BE49-F238E27FC236}">
                <a16:creationId xmlns:a16="http://schemas.microsoft.com/office/drawing/2014/main" id="{9648034D-49FA-49C8-9553-70DBB11CB7DE}"/>
              </a:ext>
            </a:extLst>
          </p:cNvPr>
          <p:cNvSpPr/>
          <p:nvPr/>
        </p:nvSpPr>
        <p:spPr>
          <a:xfrm>
            <a:off x="7671623" y="1867683"/>
            <a:ext cx="2750457" cy="1894114"/>
          </a:xfrm>
          <a:prstGeom prst="rect">
            <a:avLst/>
          </a:prstGeom>
          <a:no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3">
            <a:extLst>
              <a:ext uri="{FF2B5EF4-FFF2-40B4-BE49-F238E27FC236}">
                <a16:creationId xmlns:a16="http://schemas.microsoft.com/office/drawing/2014/main" id="{69336F55-02AC-4337-849B-F0A13CF24946}"/>
              </a:ext>
            </a:extLst>
          </p:cNvPr>
          <p:cNvPicPr>
            <a:picLocks noChangeAspect="1" noChangeArrowheads="1"/>
          </p:cNvPicPr>
          <p:nvPr/>
        </p:nvPicPr>
        <p:blipFill>
          <a:blip r:embed="rId4"/>
          <a:srcRect/>
          <a:stretch>
            <a:fillRect/>
          </a:stretch>
        </p:blipFill>
        <p:spPr bwMode="auto">
          <a:xfrm>
            <a:off x="7929202" y="1715288"/>
            <a:ext cx="2009273" cy="1828800"/>
          </a:xfrm>
          <a:prstGeom prst="rect">
            <a:avLst/>
          </a:prstGeom>
          <a:noFill/>
          <a:ln w="9525">
            <a:noFill/>
            <a:miter lim="800000"/>
            <a:headEnd/>
            <a:tailEnd/>
          </a:ln>
          <a:effectLst/>
        </p:spPr>
      </p:pic>
      <p:sp>
        <p:nvSpPr>
          <p:cNvPr id="24" name="Oval 23">
            <a:extLst>
              <a:ext uri="{FF2B5EF4-FFF2-40B4-BE49-F238E27FC236}">
                <a16:creationId xmlns:a16="http://schemas.microsoft.com/office/drawing/2014/main" id="{3CC096C6-A022-4609-AC8C-80FB3EB6096F}"/>
              </a:ext>
            </a:extLst>
          </p:cNvPr>
          <p:cNvSpPr/>
          <p:nvPr/>
        </p:nvSpPr>
        <p:spPr>
          <a:xfrm>
            <a:off x="8226421" y="2541047"/>
            <a:ext cx="389220" cy="38151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sp>
        <p:nvSpPr>
          <p:cNvPr id="25" name="Oval 24">
            <a:extLst>
              <a:ext uri="{FF2B5EF4-FFF2-40B4-BE49-F238E27FC236}">
                <a16:creationId xmlns:a16="http://schemas.microsoft.com/office/drawing/2014/main" id="{F0A34701-5D79-43AD-850B-8F9FBB09906F}"/>
              </a:ext>
            </a:extLst>
          </p:cNvPr>
          <p:cNvSpPr/>
          <p:nvPr/>
        </p:nvSpPr>
        <p:spPr>
          <a:xfrm>
            <a:off x="8944878" y="2185447"/>
            <a:ext cx="389220" cy="38151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sp>
        <p:nvSpPr>
          <p:cNvPr id="26" name="Oval 25">
            <a:extLst>
              <a:ext uri="{FF2B5EF4-FFF2-40B4-BE49-F238E27FC236}">
                <a16:creationId xmlns:a16="http://schemas.microsoft.com/office/drawing/2014/main" id="{40942DBA-8A10-4D49-8332-F431E6C05613}"/>
              </a:ext>
            </a:extLst>
          </p:cNvPr>
          <p:cNvSpPr/>
          <p:nvPr/>
        </p:nvSpPr>
        <p:spPr>
          <a:xfrm>
            <a:off x="9046478" y="2751504"/>
            <a:ext cx="389220" cy="381518"/>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sp>
        <p:nvSpPr>
          <p:cNvPr id="27" name="TextBox 26">
            <a:extLst>
              <a:ext uri="{FF2B5EF4-FFF2-40B4-BE49-F238E27FC236}">
                <a16:creationId xmlns:a16="http://schemas.microsoft.com/office/drawing/2014/main" id="{A21EE6A1-AC37-4A7D-961C-837821261771}"/>
              </a:ext>
            </a:extLst>
          </p:cNvPr>
          <p:cNvSpPr txBox="1"/>
          <p:nvPr/>
        </p:nvSpPr>
        <p:spPr>
          <a:xfrm>
            <a:off x="7765980" y="3297344"/>
            <a:ext cx="2583543"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Cloud Application (</a:t>
            </a:r>
            <a:r>
              <a:rPr lang="en-US" dirty="0" err="1">
                <a:latin typeface="Candara" pitchFamily="34" charset="0"/>
              </a:rPr>
              <a:t>SaaS</a:t>
            </a:r>
            <a:r>
              <a:rPr lang="en-US" dirty="0">
                <a:latin typeface="Candara" pitchFamily="34" charset="0"/>
              </a:rPr>
              <a:t>)</a:t>
            </a:r>
          </a:p>
        </p:txBody>
      </p:sp>
      <p:sp>
        <p:nvSpPr>
          <p:cNvPr id="28" name="Rectangle 27">
            <a:extLst>
              <a:ext uri="{FF2B5EF4-FFF2-40B4-BE49-F238E27FC236}">
                <a16:creationId xmlns:a16="http://schemas.microsoft.com/office/drawing/2014/main" id="{6B4A2A03-65B0-4F19-9DC9-277CF61C18F3}"/>
              </a:ext>
            </a:extLst>
          </p:cNvPr>
          <p:cNvSpPr/>
          <p:nvPr/>
        </p:nvSpPr>
        <p:spPr>
          <a:xfrm>
            <a:off x="6974954" y="3957740"/>
            <a:ext cx="3788229" cy="2423886"/>
          </a:xfrm>
          <a:prstGeom prst="rect">
            <a:avLst/>
          </a:prstGeom>
          <a:no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3">
            <a:extLst>
              <a:ext uri="{FF2B5EF4-FFF2-40B4-BE49-F238E27FC236}">
                <a16:creationId xmlns:a16="http://schemas.microsoft.com/office/drawing/2014/main" id="{BE08188C-57C8-4860-BDDD-190CDD851E9E}"/>
              </a:ext>
            </a:extLst>
          </p:cNvPr>
          <p:cNvPicPr>
            <a:picLocks noChangeAspect="1" noChangeArrowheads="1"/>
          </p:cNvPicPr>
          <p:nvPr/>
        </p:nvPicPr>
        <p:blipFill>
          <a:blip r:embed="rId4"/>
          <a:srcRect/>
          <a:stretch>
            <a:fillRect/>
          </a:stretch>
        </p:blipFill>
        <p:spPr bwMode="auto">
          <a:xfrm>
            <a:off x="7555515" y="4001278"/>
            <a:ext cx="2423886" cy="2206172"/>
          </a:xfrm>
          <a:prstGeom prst="rect">
            <a:avLst/>
          </a:prstGeom>
          <a:noFill/>
          <a:ln w="9525">
            <a:noFill/>
            <a:miter lim="800000"/>
            <a:headEnd/>
            <a:tailEnd/>
          </a:ln>
          <a:effectLst/>
        </p:spPr>
      </p:pic>
      <p:grpSp>
        <p:nvGrpSpPr>
          <p:cNvPr id="30" name="Group 29">
            <a:extLst>
              <a:ext uri="{FF2B5EF4-FFF2-40B4-BE49-F238E27FC236}">
                <a16:creationId xmlns:a16="http://schemas.microsoft.com/office/drawing/2014/main" id="{FC9B6681-9B1A-4B04-AFE2-72E2846D1B53}"/>
              </a:ext>
            </a:extLst>
          </p:cNvPr>
          <p:cNvGrpSpPr/>
          <p:nvPr/>
        </p:nvGrpSpPr>
        <p:grpSpPr>
          <a:xfrm>
            <a:off x="8796486" y="4799564"/>
            <a:ext cx="529772" cy="834571"/>
            <a:chOff x="7757886" y="2895600"/>
            <a:chExt cx="711200" cy="1016000"/>
          </a:xfrm>
        </p:grpSpPr>
        <p:sp>
          <p:nvSpPr>
            <p:cNvPr id="31" name="Rectangle 30">
              <a:extLst>
                <a:ext uri="{FF2B5EF4-FFF2-40B4-BE49-F238E27FC236}">
                  <a16:creationId xmlns:a16="http://schemas.microsoft.com/office/drawing/2014/main" id="{FCEFD2D4-4152-441E-B34D-0AD0C4E8AD49}"/>
                </a:ext>
              </a:extLst>
            </p:cNvPr>
            <p:cNvSpPr/>
            <p:nvPr/>
          </p:nvSpPr>
          <p:spPr>
            <a:xfrm>
              <a:off x="7757886" y="2895600"/>
              <a:ext cx="711200" cy="1016000"/>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dirty="0">
                <a:latin typeface="Candara" pitchFamily="34" charset="0"/>
              </a:endParaRPr>
            </a:p>
            <a:p>
              <a:pPr algn="ctr"/>
              <a:endParaRPr lang="en-US" dirty="0">
                <a:latin typeface="Candara" pitchFamily="34" charset="0"/>
              </a:endParaRPr>
            </a:p>
            <a:p>
              <a:pPr algn="ctr"/>
              <a:r>
                <a:rPr lang="en-US" dirty="0">
                  <a:latin typeface="Candara" pitchFamily="34" charset="0"/>
                </a:rPr>
                <a:t>VM</a:t>
              </a:r>
            </a:p>
          </p:txBody>
        </p:sp>
        <p:sp>
          <p:nvSpPr>
            <p:cNvPr id="32" name="Oval 31">
              <a:extLst>
                <a:ext uri="{FF2B5EF4-FFF2-40B4-BE49-F238E27FC236}">
                  <a16:creationId xmlns:a16="http://schemas.microsoft.com/office/drawing/2014/main" id="{44E9997F-CE87-49E6-B44E-9B881CFA3BF2}"/>
                </a:ext>
              </a:extLst>
            </p:cNvPr>
            <p:cNvSpPr/>
            <p:nvPr/>
          </p:nvSpPr>
          <p:spPr>
            <a:xfrm>
              <a:off x="7830457" y="3026229"/>
              <a:ext cx="522514" cy="46445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grpSp>
      <p:grpSp>
        <p:nvGrpSpPr>
          <p:cNvPr id="33" name="Group 32">
            <a:extLst>
              <a:ext uri="{FF2B5EF4-FFF2-40B4-BE49-F238E27FC236}">
                <a16:creationId xmlns:a16="http://schemas.microsoft.com/office/drawing/2014/main" id="{80646F2A-6CA2-45B2-97F6-E051E2389583}"/>
              </a:ext>
            </a:extLst>
          </p:cNvPr>
          <p:cNvGrpSpPr/>
          <p:nvPr/>
        </p:nvGrpSpPr>
        <p:grpSpPr>
          <a:xfrm>
            <a:off x="8121573" y="4821335"/>
            <a:ext cx="529772" cy="834571"/>
            <a:chOff x="7757886" y="2895600"/>
            <a:chExt cx="711200" cy="1016000"/>
          </a:xfrm>
        </p:grpSpPr>
        <p:sp>
          <p:nvSpPr>
            <p:cNvPr id="34" name="Rectangle 33">
              <a:extLst>
                <a:ext uri="{FF2B5EF4-FFF2-40B4-BE49-F238E27FC236}">
                  <a16:creationId xmlns:a16="http://schemas.microsoft.com/office/drawing/2014/main" id="{1098CC02-4BE5-4A49-8E11-7E9692212392}"/>
                </a:ext>
              </a:extLst>
            </p:cNvPr>
            <p:cNvSpPr/>
            <p:nvPr/>
          </p:nvSpPr>
          <p:spPr>
            <a:xfrm>
              <a:off x="7757886" y="2895600"/>
              <a:ext cx="711200" cy="1016000"/>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endParaRPr lang="en-US" dirty="0">
                <a:latin typeface="Candara" pitchFamily="34" charset="0"/>
              </a:endParaRPr>
            </a:p>
            <a:p>
              <a:pPr algn="ctr"/>
              <a:endParaRPr lang="en-US" dirty="0">
                <a:latin typeface="Candara" pitchFamily="34" charset="0"/>
              </a:endParaRPr>
            </a:p>
            <a:p>
              <a:pPr algn="ctr"/>
              <a:r>
                <a:rPr lang="en-US" dirty="0">
                  <a:latin typeface="Candara" pitchFamily="34" charset="0"/>
                </a:rPr>
                <a:t>VM</a:t>
              </a:r>
            </a:p>
          </p:txBody>
        </p:sp>
        <p:sp>
          <p:nvSpPr>
            <p:cNvPr id="35" name="Oval 34">
              <a:extLst>
                <a:ext uri="{FF2B5EF4-FFF2-40B4-BE49-F238E27FC236}">
                  <a16:creationId xmlns:a16="http://schemas.microsoft.com/office/drawing/2014/main" id="{3F028AE2-863A-4414-9C0C-B0398D719256}"/>
                </a:ext>
              </a:extLst>
            </p:cNvPr>
            <p:cNvSpPr/>
            <p:nvPr/>
          </p:nvSpPr>
          <p:spPr>
            <a:xfrm>
              <a:off x="7830457" y="3026229"/>
              <a:ext cx="522514" cy="46445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dirty="0">
                  <a:latin typeface="Candara" pitchFamily="34" charset="0"/>
                </a:rPr>
                <a:t>A</a:t>
              </a:r>
            </a:p>
          </p:txBody>
        </p:sp>
      </p:grpSp>
      <p:sp>
        <p:nvSpPr>
          <p:cNvPr id="36" name="TextBox 35">
            <a:extLst>
              <a:ext uri="{FF2B5EF4-FFF2-40B4-BE49-F238E27FC236}">
                <a16:creationId xmlns:a16="http://schemas.microsoft.com/office/drawing/2014/main" id="{CCF8DA63-8CDA-41BB-9409-2B5BF866017C}"/>
              </a:ext>
            </a:extLst>
          </p:cNvPr>
          <p:cNvSpPr txBox="1"/>
          <p:nvPr/>
        </p:nvSpPr>
        <p:spPr>
          <a:xfrm>
            <a:off x="7998201" y="5938936"/>
            <a:ext cx="1712685"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dirty="0">
                <a:latin typeface="Candara" pitchFamily="34" charset="0"/>
              </a:rPr>
              <a:t>Cloud Platform</a:t>
            </a:r>
          </a:p>
        </p:txBody>
      </p:sp>
      <p:cxnSp>
        <p:nvCxnSpPr>
          <p:cNvPr id="37" name="Straight Arrow Connector 36">
            <a:extLst>
              <a:ext uri="{FF2B5EF4-FFF2-40B4-BE49-F238E27FC236}">
                <a16:creationId xmlns:a16="http://schemas.microsoft.com/office/drawing/2014/main" id="{BDC388E1-1127-4162-ACC9-7EA04012BF10}"/>
              </a:ext>
            </a:extLst>
          </p:cNvPr>
          <p:cNvCxnSpPr/>
          <p:nvPr/>
        </p:nvCxnSpPr>
        <p:spPr>
          <a:xfrm rot="16200000" flipH="1">
            <a:off x="2404695" y="3796341"/>
            <a:ext cx="1667588" cy="234156"/>
          </a:xfrm>
          <a:prstGeom prst="straightConnector1">
            <a:avLst/>
          </a:prstGeom>
          <a:ln>
            <a:solidFill>
              <a:srgbClr val="445AFA"/>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E5D55B6-7B3F-4768-A06E-A07AD8E59D86}"/>
              </a:ext>
            </a:extLst>
          </p:cNvPr>
          <p:cNvCxnSpPr>
            <a:endCxn id="12" idx="0"/>
          </p:cNvCxnSpPr>
          <p:nvPr/>
        </p:nvCxnSpPr>
        <p:spPr>
          <a:xfrm rot="16200000" flipH="1">
            <a:off x="2778511" y="3408010"/>
            <a:ext cx="1582057" cy="89625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DF8D9C9-F608-466F-8E6A-490DFD0E48C2}"/>
              </a:ext>
            </a:extLst>
          </p:cNvPr>
          <p:cNvCxnSpPr/>
          <p:nvPr/>
        </p:nvCxnSpPr>
        <p:spPr>
          <a:xfrm rot="16200000" flipH="1">
            <a:off x="3014296" y="3157711"/>
            <a:ext cx="2306213" cy="21210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69395A8-B913-42DB-AE6E-70FE38ABA9E6}"/>
              </a:ext>
            </a:extLst>
          </p:cNvPr>
          <p:cNvCxnSpPr>
            <a:endCxn id="20" idx="0"/>
          </p:cNvCxnSpPr>
          <p:nvPr/>
        </p:nvCxnSpPr>
        <p:spPr>
          <a:xfrm>
            <a:off x="3121411" y="3065111"/>
            <a:ext cx="2737868" cy="237152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C9BCE0D-E042-4F13-9547-9473F977011A}"/>
              </a:ext>
            </a:extLst>
          </p:cNvPr>
          <p:cNvCxnSpPr>
            <a:stCxn id="6" idx="3"/>
            <a:endCxn id="24" idx="2"/>
          </p:cNvCxnSpPr>
          <p:nvPr/>
        </p:nvCxnSpPr>
        <p:spPr>
          <a:xfrm>
            <a:off x="4014040" y="2353911"/>
            <a:ext cx="4212381" cy="3778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E3A5550-DE1E-407F-9D79-5CF4468A5B00}"/>
              </a:ext>
            </a:extLst>
          </p:cNvPr>
          <p:cNvCxnSpPr>
            <a:stCxn id="6" idx="3"/>
            <a:endCxn id="25" idx="2"/>
          </p:cNvCxnSpPr>
          <p:nvPr/>
        </p:nvCxnSpPr>
        <p:spPr>
          <a:xfrm>
            <a:off x="4014040" y="2353911"/>
            <a:ext cx="4930838" cy="222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3013259-F90C-4E55-864B-38FD1363ABBD}"/>
              </a:ext>
            </a:extLst>
          </p:cNvPr>
          <p:cNvCxnSpPr>
            <a:stCxn id="6" idx="3"/>
            <a:endCxn id="26" idx="3"/>
          </p:cNvCxnSpPr>
          <p:nvPr/>
        </p:nvCxnSpPr>
        <p:spPr>
          <a:xfrm>
            <a:off x="4014040" y="2353911"/>
            <a:ext cx="5089438" cy="72323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24F740D-1A93-4C40-BCA8-3DE1C7DC64F0}"/>
              </a:ext>
            </a:extLst>
          </p:cNvPr>
          <p:cNvCxnSpPr>
            <a:endCxn id="35" idx="0"/>
          </p:cNvCxnSpPr>
          <p:nvPr/>
        </p:nvCxnSpPr>
        <p:spPr>
          <a:xfrm>
            <a:off x="3905183" y="2673225"/>
            <a:ext cx="4465058" cy="22554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4F43940-F1D1-43A8-BF9C-95DF27B76A88}"/>
              </a:ext>
            </a:extLst>
          </p:cNvPr>
          <p:cNvCxnSpPr/>
          <p:nvPr/>
        </p:nvCxnSpPr>
        <p:spPr>
          <a:xfrm>
            <a:off x="3934211" y="2687740"/>
            <a:ext cx="5210629" cy="220617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106C885-181C-4EB3-816E-40D038823FC4}"/>
              </a:ext>
            </a:extLst>
          </p:cNvPr>
          <p:cNvSpPr txBox="1"/>
          <p:nvPr/>
        </p:nvSpPr>
        <p:spPr>
          <a:xfrm>
            <a:off x="5138897" y="1178253"/>
            <a:ext cx="2162628" cy="646331"/>
          </a:xfrm>
          <a:prstGeom prst="rect">
            <a:avLst/>
          </a:prstGeom>
          <a:noFill/>
          <a:ln w="3175">
            <a:solidFill>
              <a:schemeClr val="tx1"/>
            </a:solidFill>
          </a:ln>
        </p:spPr>
        <p:txBody>
          <a:bodyPr wrap="square" rtlCol="0">
            <a:spAutoFit/>
          </a:bodyPr>
          <a:lstStyle/>
          <a:p>
            <a:r>
              <a:rPr lang="en-US" dirty="0">
                <a:latin typeface="Candara" pitchFamily="34" charset="0"/>
              </a:rPr>
              <a:t>VM : Virtual Machine</a:t>
            </a:r>
          </a:p>
          <a:p>
            <a:r>
              <a:rPr lang="en-US" dirty="0">
                <a:latin typeface="Candara" pitchFamily="34" charset="0"/>
              </a:rPr>
              <a:t>A : Application</a:t>
            </a:r>
          </a:p>
        </p:txBody>
      </p:sp>
      <p:sp>
        <p:nvSpPr>
          <p:cNvPr id="47" name="TextBox 46">
            <a:extLst>
              <a:ext uri="{FF2B5EF4-FFF2-40B4-BE49-F238E27FC236}">
                <a16:creationId xmlns:a16="http://schemas.microsoft.com/office/drawing/2014/main" id="{FC1F3330-F695-49FB-BA5C-E65D657F060C}"/>
              </a:ext>
            </a:extLst>
          </p:cNvPr>
          <p:cNvSpPr txBox="1"/>
          <p:nvPr/>
        </p:nvSpPr>
        <p:spPr>
          <a:xfrm>
            <a:off x="2424726" y="1294368"/>
            <a:ext cx="1567543" cy="369332"/>
          </a:xfrm>
          <a:prstGeom prst="rect">
            <a:avLst/>
          </a:prstGeom>
          <a:noFill/>
        </p:spPr>
        <p:txBody>
          <a:bodyPr wrap="square" rtlCol="0">
            <a:spAutoFit/>
          </a:bodyPr>
          <a:lstStyle/>
          <a:p>
            <a:pPr algn="ctr"/>
            <a:r>
              <a:rPr lang="en-US" dirty="0">
                <a:latin typeface="Candara" pitchFamily="34" charset="0"/>
              </a:rPr>
              <a:t>Users</a:t>
            </a:r>
          </a:p>
        </p:txBody>
      </p:sp>
    </p:spTree>
    <p:extLst>
      <p:ext uri="{BB962C8B-B14F-4D97-AF65-F5344CB8AC3E}">
        <p14:creationId xmlns:p14="http://schemas.microsoft.com/office/powerpoint/2010/main" val="67629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9DA1ADED5C8094F9464E5F83AB3D4E4" ma:contentTypeVersion="0" ma:contentTypeDescription="Create a new document." ma:contentTypeScope="" ma:versionID="8e743d9e3bf92c17b2d2d211597da4b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D88864-F0B5-4CAA-AABD-3D578BF505C5}">
  <ds:schemaRefs>
    <ds:schemaRef ds:uri="http://schemas.microsoft.com/office/2006/metadata/properties"/>
    <ds:schemaRef ds:uri="http://schemas.microsoft.com/office/infopath/2007/PartnerControls"/>
    <ds:schemaRef ds:uri="ff9673e2-8703-4f54-a1af-e608932f257d"/>
    <ds:schemaRef ds:uri="1253dd47-851c-4098-91d7-cf3a38efb584"/>
  </ds:schemaRefs>
</ds:datastoreItem>
</file>

<file path=customXml/itemProps2.xml><?xml version="1.0" encoding="utf-8"?>
<ds:datastoreItem xmlns:ds="http://schemas.openxmlformats.org/officeDocument/2006/customXml" ds:itemID="{1DD14BC2-269F-4F08-9446-755CA7A940F8}">
  <ds:schemaRefs>
    <ds:schemaRef ds:uri="http://schemas.microsoft.com/sharepoint/v3/contenttype/forms"/>
  </ds:schemaRefs>
</ds:datastoreItem>
</file>

<file path=customXml/itemProps3.xml><?xml version="1.0" encoding="utf-8"?>
<ds:datastoreItem xmlns:ds="http://schemas.openxmlformats.org/officeDocument/2006/customXml" ds:itemID="{90D7F774-35F9-47BD-A7C1-D2440224DBD5}"/>
</file>

<file path=docProps/app.xml><?xml version="1.0" encoding="utf-8"?>
<Properties xmlns="http://schemas.openxmlformats.org/officeDocument/2006/extended-properties" xmlns:vt="http://schemas.openxmlformats.org/officeDocument/2006/docPropsVTypes">
  <Template/>
  <TotalTime>4078</TotalTime>
  <Words>2703</Words>
  <Application>Microsoft Office PowerPoint</Application>
  <PresentationFormat>Widescreen</PresentationFormat>
  <Paragraphs>377</Paragraphs>
  <Slides>34</Slides>
  <Notes>31</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34</vt:i4>
      </vt:variant>
    </vt:vector>
  </HeadingPairs>
  <TitlesOfParts>
    <vt:vector size="48" baseType="lpstr">
      <vt:lpstr>Arial</vt:lpstr>
      <vt:lpstr>Calibri</vt:lpstr>
      <vt:lpstr>Candara</vt:lpstr>
      <vt:lpstr>Noto Sans JP</vt:lpstr>
      <vt:lpstr>Open Sans</vt:lpstr>
      <vt:lpstr>Poppins</vt:lpstr>
      <vt:lpstr>SalesforceSansRegular</vt:lpstr>
      <vt:lpstr>Times New Roman</vt:lpstr>
      <vt:lpstr>Verdana</vt:lpstr>
      <vt:lpstr>Wingdings</vt:lpstr>
      <vt:lpstr>Capgemini 2017_Cover slides</vt:lpstr>
      <vt:lpstr>Section slides</vt:lpstr>
      <vt:lpstr>Content Layouts</vt:lpstr>
      <vt:lpstr>Content and Image Layouts</vt:lpstr>
      <vt:lpstr>PowerPoint Presentation</vt:lpstr>
      <vt:lpstr>PowerPoint Presentation</vt:lpstr>
      <vt:lpstr>What is Traditional Architecture? </vt:lpstr>
      <vt:lpstr>Problem With Traditional Architecture </vt:lpstr>
      <vt:lpstr>PowerPoint Presentation</vt:lpstr>
      <vt:lpstr>Cloud Compu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Fundamentals</dc:title>
  <dc:subject>Cloud Fundamentals by Karthik M</dc:subject>
  <dc:creator>Karthik Muthukrishnan</dc:creator>
  <cp:keywords>Azure</cp:keywords>
  <dc:description>Cloud Fundamentals by Karthik Muthukrishnan</dc:description>
  <cp:lastModifiedBy>Chaudhari, Rekha Prashant</cp:lastModifiedBy>
  <cp:revision>294</cp:revision>
  <cp:lastPrinted>2018-04-10T18:24:46Z</cp:lastPrinted>
  <dcterms:created xsi:type="dcterms:W3CDTF">2017-12-21T09:22:13Z</dcterms:created>
  <dcterms:modified xsi:type="dcterms:W3CDTF">2023-06-14T06:58:33Z</dcterms:modified>
  <cp:category>Azure-Classboo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DA1ADED5C8094F9464E5F83AB3D4E4</vt:lpwstr>
  </property>
</Properties>
</file>